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  <p:sldMasterId id="2147483683" r:id="rId3"/>
    <p:sldMasterId id="2147483696" r:id="rId4"/>
    <p:sldMasterId id="2147483706" r:id="rId5"/>
    <p:sldMasterId id="2147483712" r:id="rId6"/>
    <p:sldMasterId id="2147483726" r:id="rId7"/>
  </p:sldMasterIdLst>
  <p:notesMasterIdLst>
    <p:notesMasterId r:id="rId33"/>
  </p:notesMasterIdLst>
  <p:sldIdLst>
    <p:sldId id="262" r:id="rId8"/>
    <p:sldId id="259" r:id="rId9"/>
    <p:sldId id="264" r:id="rId10"/>
    <p:sldId id="267" r:id="rId11"/>
    <p:sldId id="268" r:id="rId12"/>
    <p:sldId id="269" r:id="rId13"/>
    <p:sldId id="270" r:id="rId14"/>
    <p:sldId id="272" r:id="rId15"/>
    <p:sldId id="293" r:id="rId16"/>
    <p:sldId id="292" r:id="rId17"/>
    <p:sldId id="291" r:id="rId18"/>
    <p:sldId id="284" r:id="rId19"/>
    <p:sldId id="277" r:id="rId20"/>
    <p:sldId id="281" r:id="rId21"/>
    <p:sldId id="282" r:id="rId22"/>
    <p:sldId id="283" r:id="rId23"/>
    <p:sldId id="279" r:id="rId24"/>
    <p:sldId id="294" r:id="rId25"/>
    <p:sldId id="285" r:id="rId26"/>
    <p:sldId id="287" r:id="rId27"/>
    <p:sldId id="289" r:id="rId28"/>
    <p:sldId id="290" r:id="rId29"/>
    <p:sldId id="278" r:id="rId30"/>
    <p:sldId id="256" r:id="rId31"/>
    <p:sldId id="257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FAADC"/>
    <a:srgbClr val="FFC000"/>
    <a:srgbClr val="44546A"/>
    <a:srgbClr val="ED7D31"/>
    <a:srgbClr val="4472C4"/>
    <a:srgbClr val="EAB200"/>
    <a:srgbClr val="2B5F9D"/>
    <a:srgbClr val="B0ACAC"/>
    <a:srgbClr val="6DB3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4660"/>
  </p:normalViewPr>
  <p:slideViewPr>
    <p:cSldViewPr snapToGrid="0">
      <p:cViewPr varScale="1">
        <p:scale>
          <a:sx n="90" d="100"/>
          <a:sy n="90" d="100"/>
        </p:scale>
        <p:origin x="57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viewProps" Target="viewProps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483297-9368-453B-9182-821B2A898A77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4C89A1-1682-476C-B1BD-6F01B839E6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8580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677162-3BF0-4A2F-AD39-20E345D1D7F0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01970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8612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6134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 and Excel.</a:t>
            </a:r>
          </a:p>
          <a:p>
            <a:r>
              <a:rPr lang="en-US" dirty="0"/>
              <a:t>Get thousands of templates, icons, maps, diagrams and charts with Power-user. Visit www.powerusersoftwares.com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DAFFBB-1BF8-41D4-9E16-DDBFB6A4F4C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8030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atewaydigital.eu/" TargetMode="External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atewaydigital.eu/" TargetMode="External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gatewaytechnolabs.com/" TargetMode="External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B20A85-FD56-4766-AE47-4566794645A3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BE46E-CB2A-464F-BACA-9D344C1C3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11304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B20A85-FD56-4766-AE47-4566794645A3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BE46E-CB2A-464F-BACA-9D344C1C3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817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B20A85-FD56-4766-AE47-4566794645A3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BE46E-CB2A-464F-BACA-9D344C1C3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4389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6492255"/>
            <a:ext cx="12191496" cy="365745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9114476" y="6476471"/>
            <a:ext cx="400770" cy="400576"/>
            <a:chOff x="9007162" y="6249540"/>
            <a:chExt cx="596050" cy="595760"/>
          </a:xfrm>
        </p:grpSpPr>
        <p:sp>
          <p:nvSpPr>
            <p:cNvPr id="25" name="Oval 24"/>
            <p:cNvSpPr/>
            <p:nvPr userDrawn="1"/>
          </p:nvSpPr>
          <p:spPr>
            <a:xfrm>
              <a:off x="9007162" y="6249540"/>
              <a:ext cx="595762" cy="595760"/>
            </a:xfrm>
            <a:prstGeom prst="ellipse">
              <a:avLst/>
            </a:prstGeom>
            <a:solidFill>
              <a:srgbClr val="F9F9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8" t="13139" r="71967" b="65134"/>
            <a:stretch/>
          </p:blipFill>
          <p:spPr>
            <a:xfrm>
              <a:off x="9021779" y="6257412"/>
              <a:ext cx="581433" cy="547400"/>
            </a:xfrm>
            <a:prstGeom prst="rect">
              <a:avLst/>
            </a:prstGeom>
          </p:spPr>
        </p:pic>
      </p:grp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7970184-A5A9-471F-9D7E-DF08F9A878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8675720" cy="4506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600">
                <a:solidFill>
                  <a:srgbClr val="0F75BC"/>
                </a:solidFill>
                <a:latin typeface="+mn-lt"/>
              </a:defRPr>
            </a:lvl1pPr>
          </a:lstStyle>
          <a:p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6530120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01DEF5-0C8C-4FA2-B502-D64DC79D7825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B6412-1C87-4DCB-81EF-29C0A37FBA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0052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01DEF5-0C8C-4FA2-B502-D64DC79D7825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B6412-1C87-4DCB-81EF-29C0A37FBA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1099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01DEF5-0C8C-4FA2-B502-D64DC79D7825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B6412-1C87-4DCB-81EF-29C0A37FBA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5829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01DEF5-0C8C-4FA2-B502-D64DC79D7825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B6412-1C87-4DCB-81EF-29C0A37FBA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48217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01DEF5-0C8C-4FA2-B502-D64DC79D7825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B6412-1C87-4DCB-81EF-29C0A37FBA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300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01DEF5-0C8C-4FA2-B502-D64DC79D7825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B6412-1C87-4DCB-81EF-29C0A37FBA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6380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01DEF5-0C8C-4FA2-B502-D64DC79D7825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B6412-1C87-4DCB-81EF-29C0A37FBA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1835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B20A85-FD56-4766-AE47-4566794645A3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BE46E-CB2A-464F-BACA-9D344C1C3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4939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01DEF5-0C8C-4FA2-B502-D64DC79D7825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B6412-1C87-4DCB-81EF-29C0A37FBA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4856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01DEF5-0C8C-4FA2-B502-D64DC79D7825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B6412-1C87-4DCB-81EF-29C0A37FBA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673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01DEF5-0C8C-4FA2-B502-D64DC79D7825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B6412-1C87-4DCB-81EF-29C0A37FBA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8244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01DEF5-0C8C-4FA2-B502-D64DC79D7825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B6412-1C87-4DCB-81EF-29C0A37FBA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069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E5BE3E-284F-4A78-9273-2972D175F6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29732" y="0"/>
            <a:ext cx="1962268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818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7970184-A5A9-471F-9D7E-DF08F9A878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656" y="3186"/>
            <a:ext cx="8675720" cy="4506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600">
                <a:solidFill>
                  <a:srgbClr val="0F75BC"/>
                </a:solidFill>
                <a:latin typeface="+mn-lt"/>
              </a:defRPr>
            </a:lvl1pPr>
          </a:lstStyle>
          <a:p>
            <a:r>
              <a:rPr lang="en-US" dirty="0"/>
              <a:t>Slide 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4E3AA1-E46F-46E5-B246-8207EA5244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29732" y="0"/>
            <a:ext cx="1962268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4816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8D37936-E5CA-4807-BB1D-FC2E1D8664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29732" y="0"/>
            <a:ext cx="1962268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3310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763" y="-1"/>
            <a:ext cx="12191237" cy="45719"/>
          </a:xfrm>
          <a:prstGeom prst="rect">
            <a:avLst/>
          </a:prstGeom>
          <a:gradFill flip="none" rotWithShape="1">
            <a:gsLst>
              <a:gs pos="0">
                <a:srgbClr val="0FA7CB"/>
              </a:gs>
              <a:gs pos="100000">
                <a:srgbClr val="F74FBF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3CDD8E2-3FDD-42FD-95B5-ADCE0FD335B7}"/>
              </a:ext>
            </a:extLst>
          </p:cNvPr>
          <p:cNvGrpSpPr/>
          <p:nvPr userDrawn="1"/>
        </p:nvGrpSpPr>
        <p:grpSpPr>
          <a:xfrm>
            <a:off x="1524" y="6585938"/>
            <a:ext cx="12190476" cy="272062"/>
            <a:chOff x="1524" y="6585938"/>
            <a:chExt cx="12190476" cy="272062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01BA1C6-1553-47DE-8888-E1DC5E395B01}"/>
                </a:ext>
              </a:extLst>
            </p:cNvPr>
            <p:cNvSpPr/>
            <p:nvPr userDrawn="1"/>
          </p:nvSpPr>
          <p:spPr>
            <a:xfrm>
              <a:off x="1524" y="6585938"/>
              <a:ext cx="12190476" cy="272062"/>
            </a:xfrm>
            <a:prstGeom prst="rect">
              <a:avLst/>
            </a:prstGeom>
            <a:gradFill flip="none" rotWithShape="1">
              <a:gsLst>
                <a:gs pos="0">
                  <a:srgbClr val="0FA7CB"/>
                </a:gs>
                <a:gs pos="100000">
                  <a:srgbClr val="F74FBF"/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R="0" lvl="0" indent="0" algn="r" fontAlgn="auto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</a:pPr>
              <a:endParaRPr kumimoji="0" lang="en-US" sz="14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8" name="Rectangle 7">
              <a:hlinkClick r:id="rId3"/>
              <a:extLst>
                <a:ext uri="{FF2B5EF4-FFF2-40B4-BE49-F238E27FC236}">
                  <a16:creationId xmlns:a16="http://schemas.microsoft.com/office/drawing/2014/main" id="{E1F6DCB6-4169-4901-9EF7-C9594D15A377}"/>
                </a:ext>
              </a:extLst>
            </p:cNvPr>
            <p:cNvSpPr/>
            <p:nvPr userDrawn="1"/>
          </p:nvSpPr>
          <p:spPr>
            <a:xfrm>
              <a:off x="4462788" y="6600644"/>
              <a:ext cx="3266424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algn="ctr" defTabSz="914400" rtl="0" eaLnBrk="1" latinLnBrk="0" hangingPunct="1"/>
              <a:r>
                <a:rPr lang="en-US" sz="900" kern="1200" spc="300" baseline="0" dirty="0">
                  <a:solidFill>
                    <a:schemeClr val="bg1"/>
                  </a:solidFill>
                  <a:latin typeface="Trebuchet MS" panose="020B060302020202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WW.GATEWAYDIGITAL.SE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0C19758-CDEC-49D7-BF91-7B7972F93D47}"/>
                </a:ext>
              </a:extLst>
            </p:cNvPr>
            <p:cNvSpPr/>
            <p:nvPr userDrawn="1"/>
          </p:nvSpPr>
          <p:spPr>
            <a:xfrm>
              <a:off x="76413" y="6600374"/>
              <a:ext cx="2996333" cy="223138"/>
            </a:xfrm>
            <a:prstGeom prst="rect">
              <a:avLst/>
            </a:prstGeom>
          </p:spPr>
          <p:txBody>
            <a:bodyPr wrap="none" anchor="ctr" anchorCtr="0">
              <a:spAutoFit/>
            </a:bodyPr>
            <a:lstStyle/>
            <a:p>
              <a:pPr lvl="0" algn="l">
                <a:defRPr/>
              </a:pPr>
              <a:r>
                <a:rPr lang="en-US" sz="850" kern="0" dirty="0">
                  <a:solidFill>
                    <a:schemeClr val="bg1"/>
                  </a:solidFill>
                </a:rPr>
                <a:t>© Gateway Digital - A Gateway Group Enterprise |  Confidential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27DB676-4ABD-4531-8336-9431AED63475}"/>
                </a:ext>
              </a:extLst>
            </p:cNvPr>
            <p:cNvSpPr/>
            <p:nvPr userDrawn="1"/>
          </p:nvSpPr>
          <p:spPr>
            <a:xfrm>
              <a:off x="9402619" y="6592680"/>
              <a:ext cx="2689590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sz="900" kern="0" spc="80" dirty="0">
                  <a:solidFill>
                    <a:schemeClr val="bg1"/>
                  </a:solidFill>
                </a:rPr>
                <a:t>TRANSFORM - PEOPLE. WORK. EXPERIENCE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103323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70CD7E3-1219-4294-97FA-650E427A49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763" y="-1"/>
            <a:ext cx="12191237" cy="45719"/>
          </a:xfrm>
          <a:prstGeom prst="rect">
            <a:avLst/>
          </a:prstGeom>
          <a:gradFill flip="none" rotWithShape="1">
            <a:gsLst>
              <a:gs pos="0">
                <a:srgbClr val="0FA7CB"/>
              </a:gs>
              <a:gs pos="100000">
                <a:srgbClr val="F74FBF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1524" y="6585938"/>
            <a:ext cx="12190476" cy="272062"/>
            <a:chOff x="1524" y="6585938"/>
            <a:chExt cx="12190476" cy="272062"/>
          </a:xfrm>
        </p:grpSpPr>
        <p:sp>
          <p:nvSpPr>
            <p:cNvPr id="25" name="Rectangle 24"/>
            <p:cNvSpPr/>
            <p:nvPr userDrawn="1"/>
          </p:nvSpPr>
          <p:spPr>
            <a:xfrm>
              <a:off x="1524" y="6585938"/>
              <a:ext cx="12190476" cy="272062"/>
            </a:xfrm>
            <a:prstGeom prst="rect">
              <a:avLst/>
            </a:prstGeom>
            <a:gradFill flip="none" rotWithShape="1">
              <a:gsLst>
                <a:gs pos="0">
                  <a:srgbClr val="0FA7CB"/>
                </a:gs>
                <a:gs pos="100000">
                  <a:srgbClr val="F74FBF"/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R="0" lvl="0" indent="0" algn="r" fontAlgn="auto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</a:pPr>
              <a:endParaRPr kumimoji="0" lang="en-US" sz="14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Rectangle 25">
              <a:hlinkClick r:id="rId3"/>
            </p:cNvPr>
            <p:cNvSpPr/>
            <p:nvPr userDrawn="1"/>
          </p:nvSpPr>
          <p:spPr>
            <a:xfrm>
              <a:off x="4462788" y="6600644"/>
              <a:ext cx="3266424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algn="ctr" defTabSz="914400" rtl="0" eaLnBrk="1" latinLnBrk="0" hangingPunct="1"/>
              <a:r>
                <a:rPr lang="en-US" sz="900" kern="1200" spc="300" baseline="0" dirty="0">
                  <a:solidFill>
                    <a:schemeClr val="bg1"/>
                  </a:solidFill>
                  <a:latin typeface="Trebuchet MS" panose="020B060302020202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WW.GATEWAYDIGITAL.SE</a:t>
              </a: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76413" y="6600374"/>
              <a:ext cx="2996333" cy="223138"/>
            </a:xfrm>
            <a:prstGeom prst="rect">
              <a:avLst/>
            </a:prstGeom>
          </p:spPr>
          <p:txBody>
            <a:bodyPr wrap="none" anchor="ctr" anchorCtr="0">
              <a:spAutoFit/>
            </a:bodyPr>
            <a:lstStyle/>
            <a:p>
              <a:pPr lvl="0" algn="l">
                <a:defRPr/>
              </a:pPr>
              <a:r>
                <a:rPr lang="en-US" sz="850" kern="0" dirty="0">
                  <a:solidFill>
                    <a:schemeClr val="bg1"/>
                  </a:solidFill>
                </a:rPr>
                <a:t>© Gateway Digital - A Gateway Group Enterprise |  Confidential</a:t>
              </a: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9402619" y="6592680"/>
              <a:ext cx="2689590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sz="900" kern="0" spc="80" dirty="0">
                  <a:solidFill>
                    <a:schemeClr val="bg1"/>
                  </a:solidFill>
                </a:rPr>
                <a:t>TRANSFORM - PEOPLE. WORK. EXPERIENCE.</a:t>
              </a:r>
            </a:p>
          </p:txBody>
        </p:sp>
      </p:grp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84007EC1-86A7-486E-AB94-6C35923663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656" y="81902"/>
            <a:ext cx="86757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2400" b="0" spc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5508629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763" y="-1"/>
            <a:ext cx="12191237" cy="45719"/>
          </a:xfrm>
          <a:prstGeom prst="rect">
            <a:avLst/>
          </a:prstGeom>
          <a:gradFill flip="none" rotWithShape="1">
            <a:gsLst>
              <a:gs pos="0">
                <a:srgbClr val="0FA7CB"/>
              </a:gs>
              <a:gs pos="100000">
                <a:srgbClr val="F74FBF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042488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B20A85-FD56-4766-AE47-4566794645A3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BE46E-CB2A-464F-BACA-9D344C1C3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6361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6492255"/>
            <a:ext cx="12191496" cy="365745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9114476" y="6476471"/>
            <a:ext cx="400770" cy="400576"/>
            <a:chOff x="9007162" y="6249540"/>
            <a:chExt cx="596050" cy="595760"/>
          </a:xfrm>
        </p:grpSpPr>
        <p:sp>
          <p:nvSpPr>
            <p:cNvPr id="25" name="Oval 24"/>
            <p:cNvSpPr/>
            <p:nvPr userDrawn="1"/>
          </p:nvSpPr>
          <p:spPr>
            <a:xfrm>
              <a:off x="9007162" y="6249540"/>
              <a:ext cx="595762" cy="595760"/>
            </a:xfrm>
            <a:prstGeom prst="ellipse">
              <a:avLst/>
            </a:prstGeom>
            <a:solidFill>
              <a:srgbClr val="F9F9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8" t="13139" r="71967" b="65134"/>
            <a:stretch/>
          </p:blipFill>
          <p:spPr>
            <a:xfrm>
              <a:off x="9021779" y="6257412"/>
              <a:ext cx="581433" cy="547400"/>
            </a:xfrm>
            <a:prstGeom prst="rect">
              <a:avLst/>
            </a:prstGeom>
          </p:spPr>
        </p:pic>
      </p:grp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7970184-A5A9-471F-9D7E-DF08F9A878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656" y="3186"/>
            <a:ext cx="8675720" cy="4506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600">
                <a:solidFill>
                  <a:srgbClr val="0F75BC"/>
                </a:solidFill>
                <a:latin typeface="+mn-lt"/>
              </a:defRPr>
            </a:lvl1pPr>
          </a:lstStyle>
          <a:p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2401393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" y="573609"/>
            <a:ext cx="12192000" cy="373063"/>
          </a:xfrm>
          <a:prstGeom prst="rect">
            <a:avLst/>
          </a:prstGeom>
        </p:spPr>
        <p:txBody>
          <a:bodyPr lIns="380841" tIns="53318" rIns="53318" bIns="53318">
            <a:noAutofit/>
          </a:bodyPr>
          <a:lstStyle>
            <a:lvl1pPr marL="0" indent="0">
              <a:buNone/>
              <a:defRPr sz="2799">
                <a:solidFill>
                  <a:srgbClr val="0070C0"/>
                </a:solidFill>
                <a:latin typeface="Segoe UI Light" pitchFamily="34" charset="0"/>
              </a:defRPr>
            </a:lvl1pPr>
            <a:lvl2pPr marL="281635" indent="0">
              <a:buNone/>
              <a:defRPr/>
            </a:lvl2pPr>
            <a:lvl3pPr marL="588396" indent="0">
              <a:buNone/>
              <a:defRPr/>
            </a:lvl3pPr>
            <a:lvl4pPr marL="870032" indent="0">
              <a:buNone/>
              <a:defRPr/>
            </a:lvl4pPr>
            <a:lvl5pPr marL="110539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762002" y="1524000"/>
            <a:ext cx="10668000" cy="4572000"/>
          </a:xfrm>
        </p:spPr>
        <p:txBody>
          <a:bodyPr>
            <a:normAutofit/>
          </a:bodyPr>
          <a:lstStyle>
            <a:lvl1pPr marL="347512" indent="-347512">
              <a:buClr>
                <a:srgbClr val="0070C0"/>
              </a:buClr>
              <a:defRPr sz="3199">
                <a:solidFill>
                  <a:srgbClr val="0070C0"/>
                </a:solidFill>
                <a:latin typeface="+mj-lt"/>
              </a:defRPr>
            </a:lvl1pPr>
            <a:lvl2pPr marL="623616" indent="-342750">
              <a:defRPr sz="2799">
                <a:latin typeface="+mj-lt"/>
              </a:defRPr>
            </a:lvl2pPr>
            <a:lvl3pPr marL="798164" indent="-211046">
              <a:defRPr sz="2399">
                <a:latin typeface="+mj-lt"/>
              </a:defRPr>
            </a:lvl3pPr>
            <a:lvl4pPr marL="1145675" indent="-276104">
              <a:defRPr sz="1999">
                <a:latin typeface="+mj-lt"/>
              </a:defRPr>
            </a:lvl4pPr>
            <a:lvl5pPr marL="1378936" indent="-233261">
              <a:defRPr sz="1799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z="1000"/>
            </a:lvl1pPr>
          </a:lstStyle>
          <a:p>
            <a:fld id="{30C6EB18-F2A7-40C0-8E79-E5758B03FFBE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ctr">
              <a:defRPr sz="1000"/>
            </a:lvl1pPr>
          </a:lstStyle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16369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68D882-57FE-4326-BAFF-682183B76F58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BA987B-1AA3-4BDC-AC3C-1AB413EFA1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29923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68D882-57FE-4326-BAFF-682183B76F58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BA987B-1AA3-4BDC-AC3C-1AB413EFA1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7615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68D882-57FE-4326-BAFF-682183B76F58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BA987B-1AA3-4BDC-AC3C-1AB413EFA1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7020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68D882-57FE-4326-BAFF-682183B76F58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BA987B-1AA3-4BDC-AC3C-1AB413EFA1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56739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68D882-57FE-4326-BAFF-682183B76F58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BA987B-1AA3-4BDC-AC3C-1AB413EFA1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6919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68D882-57FE-4326-BAFF-682183B76F58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BA987B-1AA3-4BDC-AC3C-1AB413EFA1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86992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68D882-57FE-4326-BAFF-682183B76F58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BA987B-1AA3-4BDC-AC3C-1AB413EFA1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6228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68D882-57FE-4326-BAFF-682183B76F58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BA987B-1AA3-4BDC-AC3C-1AB413EFA1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6259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B20A85-FD56-4766-AE47-4566794645A3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BE46E-CB2A-464F-BACA-9D344C1C3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8381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68D882-57FE-4326-BAFF-682183B76F58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BA987B-1AA3-4BDC-AC3C-1AB413EFA1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55529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68D882-57FE-4326-BAFF-682183B76F58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BA987B-1AA3-4BDC-AC3C-1AB413EFA1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9310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68D882-57FE-4326-BAFF-682183B76F58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BA987B-1AA3-4BDC-AC3C-1AB413EFA1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97301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6492255"/>
            <a:ext cx="12191496" cy="365745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9114476" y="6476471"/>
            <a:ext cx="400770" cy="400576"/>
            <a:chOff x="9007162" y="6249540"/>
            <a:chExt cx="596050" cy="595760"/>
          </a:xfrm>
        </p:grpSpPr>
        <p:sp>
          <p:nvSpPr>
            <p:cNvPr id="25" name="Oval 24"/>
            <p:cNvSpPr/>
            <p:nvPr userDrawn="1"/>
          </p:nvSpPr>
          <p:spPr>
            <a:xfrm>
              <a:off x="9007162" y="6249540"/>
              <a:ext cx="595762" cy="595760"/>
            </a:xfrm>
            <a:prstGeom prst="ellipse">
              <a:avLst/>
            </a:prstGeom>
            <a:solidFill>
              <a:srgbClr val="F9F9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8" t="13139" r="71967" b="65134"/>
            <a:stretch/>
          </p:blipFill>
          <p:spPr>
            <a:xfrm>
              <a:off x="9021779" y="6257412"/>
              <a:ext cx="581433" cy="547400"/>
            </a:xfrm>
            <a:prstGeom prst="rect">
              <a:avLst/>
            </a:prstGeom>
          </p:spPr>
        </p:pic>
      </p:grp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7970184-A5A9-471F-9D7E-DF08F9A878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656" y="3186"/>
            <a:ext cx="8675720" cy="4506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600">
                <a:solidFill>
                  <a:srgbClr val="0F75BC"/>
                </a:solidFill>
                <a:latin typeface="+mn-lt"/>
              </a:defRPr>
            </a:lvl1pPr>
          </a:lstStyle>
          <a:p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6980536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E5BE3E-284F-4A78-9273-2972D175F6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29732" y="0"/>
            <a:ext cx="1962268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2593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0ECB5C-FEEE-43DF-8C72-11F0103367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9FDA2E-42DF-480F-86E0-1ECA43D9AC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3D13F-2862-45E3-B0E6-75C8A3DB4C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522BCE-94BD-450D-828F-1DD8B7945B12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7E306C-6988-46ED-9A8D-11C103B491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59A81B-9A55-4BEF-96AD-6F7572836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6EA711-647B-46CE-82D2-1DB06BC680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38799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E426D78-DC8D-4070-AC23-B692B97A83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522BCE-94BD-450D-828F-1DD8B7945B12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120D44-222D-4AAC-A1D1-53A045BE6F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AF44AF-9F97-4472-9D0A-761FB24DBA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6EA711-647B-46CE-82D2-1DB06BC680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518296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6492255"/>
            <a:ext cx="12191496" cy="365745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9114476" y="6476471"/>
            <a:ext cx="400770" cy="400576"/>
            <a:chOff x="9007162" y="6249540"/>
            <a:chExt cx="596050" cy="595760"/>
          </a:xfrm>
        </p:grpSpPr>
        <p:sp>
          <p:nvSpPr>
            <p:cNvPr id="25" name="Oval 24"/>
            <p:cNvSpPr/>
            <p:nvPr userDrawn="1"/>
          </p:nvSpPr>
          <p:spPr>
            <a:xfrm>
              <a:off x="9007162" y="6249540"/>
              <a:ext cx="595762" cy="595760"/>
            </a:xfrm>
            <a:prstGeom prst="ellipse">
              <a:avLst/>
            </a:prstGeom>
            <a:solidFill>
              <a:srgbClr val="F9F9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8" t="13139" r="71967" b="65134"/>
            <a:stretch/>
          </p:blipFill>
          <p:spPr>
            <a:xfrm>
              <a:off x="9021779" y="6257412"/>
              <a:ext cx="581433" cy="547400"/>
            </a:xfrm>
            <a:prstGeom prst="rect">
              <a:avLst/>
            </a:prstGeom>
          </p:spPr>
        </p:pic>
      </p:grp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7970184-A5A9-471F-9D7E-DF08F9A878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8675720" cy="4506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600">
                <a:solidFill>
                  <a:srgbClr val="0F75BC"/>
                </a:solidFill>
                <a:latin typeface="+mn-lt"/>
              </a:defRPr>
            </a:lvl1pPr>
          </a:lstStyle>
          <a:p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8883753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17A767C-26F9-468C-B9B8-55B22A15DE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6492255"/>
            <a:ext cx="12191496" cy="365745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D44BD561-0B06-464A-8DCF-16B4E9AD8C03}"/>
              </a:ext>
            </a:extLst>
          </p:cNvPr>
          <p:cNvGrpSpPr/>
          <p:nvPr userDrawn="1"/>
        </p:nvGrpSpPr>
        <p:grpSpPr>
          <a:xfrm>
            <a:off x="9114476" y="6476471"/>
            <a:ext cx="400770" cy="400576"/>
            <a:chOff x="9007162" y="6249540"/>
            <a:chExt cx="596050" cy="59576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A80E70A1-3222-4E62-B9FB-C1826098B2A8}"/>
                </a:ext>
              </a:extLst>
            </p:cNvPr>
            <p:cNvSpPr/>
            <p:nvPr userDrawn="1"/>
          </p:nvSpPr>
          <p:spPr>
            <a:xfrm>
              <a:off x="9007162" y="6249540"/>
              <a:ext cx="595762" cy="595760"/>
            </a:xfrm>
            <a:prstGeom prst="ellipse">
              <a:avLst/>
            </a:prstGeom>
            <a:solidFill>
              <a:srgbClr val="F9F9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4BEACB9-1964-4233-91F9-834ECC3B409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8" t="13139" r="71967" b="65134"/>
            <a:stretch/>
          </p:blipFill>
          <p:spPr>
            <a:xfrm>
              <a:off x="9021779" y="6257412"/>
              <a:ext cx="581433" cy="547400"/>
            </a:xfrm>
            <a:prstGeom prst="rect">
              <a:avLst/>
            </a:prstGeom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BDA3185D-084B-4E04-9F63-BC897A806BC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0703" y="66155"/>
            <a:ext cx="1121525" cy="3163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92BA33D-6CF8-403D-B8B7-E054FC8401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7481" y="66155"/>
            <a:ext cx="1640038" cy="319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55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parator-With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72995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B20A85-FD56-4766-AE47-4566794645A3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BE46E-CB2A-464F-BACA-9D344C1C3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211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80C7E3-7AD4-4D51-A4E1-0D2C02C736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D314C7A-6B16-4E59-8285-C42B326729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265F7B-5127-4CD8-887A-5F7C8DC41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86401-E561-4110-9965-C47B885AB0A0}" type="datetimeFigureOut">
              <a:rPr lang="en-IN" smtClean="0"/>
              <a:t>17-01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260FB3-04C9-4101-9292-3600C5F38E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DAD2BA-D452-439C-89A0-F3D9473A07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69BA4F-9AA9-4653-AEA2-BF2EA30DB6E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3441845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6492255"/>
            <a:ext cx="12191496" cy="365745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9114476" y="6476471"/>
            <a:ext cx="400770" cy="400576"/>
            <a:chOff x="9007162" y="6249540"/>
            <a:chExt cx="596050" cy="595760"/>
          </a:xfrm>
        </p:grpSpPr>
        <p:sp>
          <p:nvSpPr>
            <p:cNvPr id="25" name="Oval 24"/>
            <p:cNvSpPr/>
            <p:nvPr userDrawn="1"/>
          </p:nvSpPr>
          <p:spPr>
            <a:xfrm>
              <a:off x="9007162" y="6249540"/>
              <a:ext cx="595762" cy="595760"/>
            </a:xfrm>
            <a:prstGeom prst="ellipse">
              <a:avLst/>
            </a:prstGeom>
            <a:solidFill>
              <a:srgbClr val="F9F9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8" t="13139" r="71967" b="65134"/>
            <a:stretch/>
          </p:blipFill>
          <p:spPr>
            <a:xfrm>
              <a:off x="9021779" y="6257412"/>
              <a:ext cx="581433" cy="547400"/>
            </a:xfrm>
            <a:prstGeom prst="rect">
              <a:avLst/>
            </a:prstGeom>
          </p:spPr>
        </p:pic>
      </p:grp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7970184-A5A9-471F-9D7E-DF08F9A878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656" y="3186"/>
            <a:ext cx="8675720" cy="4506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600">
                <a:solidFill>
                  <a:srgbClr val="0F75BC"/>
                </a:solidFill>
                <a:latin typeface="+mn-lt"/>
              </a:defRPr>
            </a:lvl1pPr>
          </a:lstStyle>
          <a:p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4500633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tor-With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20800" y="3793786"/>
            <a:ext cx="3352800" cy="590550"/>
          </a:xfrm>
        </p:spPr>
        <p:txBody>
          <a:bodyPr>
            <a:noAutofit/>
          </a:bodyPr>
          <a:lstStyle>
            <a:lvl1pPr marL="0" indent="0">
              <a:buNone/>
              <a:defRPr lang="en-US" sz="2400" kern="12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-Tit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120800" y="3063415"/>
            <a:ext cx="3352800" cy="590550"/>
          </a:xfrm>
        </p:spPr>
        <p:txBody>
          <a:bodyPr>
            <a:noAutofit/>
          </a:bodyPr>
          <a:lstStyle>
            <a:lvl1pPr marL="0" indent="0">
              <a:buNone/>
              <a:defRPr lang="en-US" sz="3600" kern="1200" dirty="0" smtClean="0">
                <a:solidFill>
                  <a:srgbClr val="0066B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V="1">
            <a:off x="1238250" y="3653965"/>
            <a:ext cx="4872839" cy="7353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/>
        </p:nvSpPr>
        <p:spPr>
          <a:xfrm>
            <a:off x="763" y="0"/>
            <a:ext cx="12190475" cy="45719"/>
          </a:xfrm>
          <a:prstGeom prst="rect">
            <a:avLst/>
          </a:prstGeom>
          <a:solidFill>
            <a:srgbClr val="0066B3"/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grpSp>
        <p:nvGrpSpPr>
          <p:cNvPr id="30" name="Group 29"/>
          <p:cNvGrpSpPr/>
          <p:nvPr userDrawn="1"/>
        </p:nvGrpSpPr>
        <p:grpSpPr>
          <a:xfrm>
            <a:off x="1524" y="6585938"/>
            <a:ext cx="12188952" cy="272062"/>
            <a:chOff x="1524" y="6585938"/>
            <a:chExt cx="12188952" cy="272062"/>
          </a:xfrm>
        </p:grpSpPr>
        <p:sp>
          <p:nvSpPr>
            <p:cNvPr id="31" name="Rectangle 30"/>
            <p:cNvSpPr/>
            <p:nvPr userDrawn="1"/>
          </p:nvSpPr>
          <p:spPr>
            <a:xfrm>
              <a:off x="1524" y="6585938"/>
              <a:ext cx="12188952" cy="272062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 userDrawn="1"/>
          </p:nvSpPr>
          <p:spPr>
            <a:xfrm>
              <a:off x="194400" y="6600374"/>
              <a:ext cx="2238113" cy="223138"/>
            </a:xfrm>
            <a:prstGeom prst="rect">
              <a:avLst/>
            </a:prstGeom>
          </p:spPr>
          <p:txBody>
            <a:bodyPr wrap="none" anchor="ctr" anchorCtr="0">
              <a:spAutoFit/>
            </a:bodyPr>
            <a:lstStyle/>
            <a:p>
              <a:pPr marL="0" lvl="0" algn="l" defTabSz="914400" rtl="0" eaLnBrk="1" latinLnBrk="0" hangingPunct="1">
                <a:defRPr/>
              </a:pPr>
              <a:r>
                <a:rPr lang="en-US" sz="850" kern="0" dirty="0">
                  <a:solidFill>
                    <a:srgbClr val="757575"/>
                  </a:solidFill>
                  <a:latin typeface="+mn-lt"/>
                  <a:ea typeface="+mn-ea"/>
                  <a:cs typeface="+mn-cs"/>
                </a:rPr>
                <a:t>© NINtec B.V., The Netherlands | Confidential</a:t>
              </a:r>
            </a:p>
          </p:txBody>
        </p:sp>
        <p:sp>
          <p:nvSpPr>
            <p:cNvPr id="33" name="Rectangle 32">
              <a:hlinkClick r:id="rId2"/>
            </p:cNvPr>
            <p:cNvSpPr/>
            <p:nvPr userDrawn="1"/>
          </p:nvSpPr>
          <p:spPr>
            <a:xfrm>
              <a:off x="5044986" y="6598790"/>
              <a:ext cx="1721116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900" kern="1200" spc="300" baseline="0" dirty="0">
                  <a:solidFill>
                    <a:schemeClr val="bg2">
                      <a:lumMod val="75000"/>
                    </a:schemeClr>
                  </a:solidFill>
                  <a:latin typeface="Trebuchet MS" panose="020B060302020202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WW.NINTEC.COM</a:t>
              </a:r>
            </a:p>
          </p:txBody>
        </p:sp>
        <p:sp>
          <p:nvSpPr>
            <p:cNvPr id="34" name="Rectangle 33">
              <a:hlinkClick r:id="rId2"/>
            </p:cNvPr>
            <p:cNvSpPr/>
            <p:nvPr userDrawn="1"/>
          </p:nvSpPr>
          <p:spPr>
            <a:xfrm>
              <a:off x="9402619" y="6598790"/>
              <a:ext cx="2689590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sz="900" spc="300" baseline="0" dirty="0">
                  <a:solidFill>
                    <a:schemeClr val="bg2">
                      <a:lumMod val="75000"/>
                    </a:schemeClr>
                  </a:solidFill>
                  <a:latin typeface="Trebuchet MS" panose="020B060302020202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NNECT. ENGAGE. DELIVER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1934180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6492255"/>
            <a:ext cx="12191496" cy="365745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9114476" y="6476471"/>
            <a:ext cx="400770" cy="400576"/>
            <a:chOff x="9007162" y="6249540"/>
            <a:chExt cx="596050" cy="595760"/>
          </a:xfrm>
        </p:grpSpPr>
        <p:sp>
          <p:nvSpPr>
            <p:cNvPr id="25" name="Oval 24"/>
            <p:cNvSpPr/>
            <p:nvPr userDrawn="1"/>
          </p:nvSpPr>
          <p:spPr>
            <a:xfrm>
              <a:off x="9007162" y="6249540"/>
              <a:ext cx="595762" cy="595760"/>
            </a:xfrm>
            <a:prstGeom prst="ellipse">
              <a:avLst/>
            </a:prstGeom>
            <a:solidFill>
              <a:srgbClr val="F9F9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noFill/>
                </a:ln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8" t="13139" r="71967" b="65134"/>
            <a:stretch/>
          </p:blipFill>
          <p:spPr>
            <a:xfrm>
              <a:off x="9021779" y="6257412"/>
              <a:ext cx="581433" cy="547400"/>
            </a:xfrm>
            <a:prstGeom prst="rect">
              <a:avLst/>
            </a:prstGeom>
          </p:spPr>
        </p:pic>
      </p:grp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1C8CF049-96E3-4E72-A160-6A84D474A7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656" y="3186"/>
            <a:ext cx="8675720" cy="4506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600">
                <a:solidFill>
                  <a:srgbClr val="0F75BC"/>
                </a:solidFill>
                <a:latin typeface="+mn-lt"/>
              </a:defRPr>
            </a:lvl1pPr>
          </a:lstStyle>
          <a:p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699561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E426D78-DC8D-4070-AC23-B692B97A83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522BCE-94BD-450D-828F-1DD8B7945B12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120D44-222D-4AAC-A1D1-53A045BE6F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AF44AF-9F97-4472-9D0A-761FB24DBA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6EA711-647B-46CE-82D2-1DB06BC680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992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6492255"/>
            <a:ext cx="12191496" cy="365745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9114476" y="6476471"/>
            <a:ext cx="400770" cy="400576"/>
            <a:chOff x="9007162" y="6249540"/>
            <a:chExt cx="596050" cy="595760"/>
          </a:xfrm>
        </p:grpSpPr>
        <p:sp>
          <p:nvSpPr>
            <p:cNvPr id="25" name="Oval 24"/>
            <p:cNvSpPr/>
            <p:nvPr userDrawn="1"/>
          </p:nvSpPr>
          <p:spPr>
            <a:xfrm>
              <a:off x="9007162" y="6249540"/>
              <a:ext cx="595762" cy="595760"/>
            </a:xfrm>
            <a:prstGeom prst="ellipse">
              <a:avLst/>
            </a:prstGeom>
            <a:solidFill>
              <a:srgbClr val="F9F9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8" t="13139" r="71967" b="65134"/>
            <a:stretch/>
          </p:blipFill>
          <p:spPr>
            <a:xfrm>
              <a:off x="9021779" y="6257412"/>
              <a:ext cx="581433" cy="547400"/>
            </a:xfrm>
            <a:prstGeom prst="rect">
              <a:avLst/>
            </a:prstGeom>
          </p:spPr>
        </p:pic>
      </p:grp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7970184-A5A9-471F-9D7E-DF08F9A878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656" y="3186"/>
            <a:ext cx="8675720" cy="4506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600">
                <a:solidFill>
                  <a:srgbClr val="0F75BC"/>
                </a:solidFill>
                <a:latin typeface="+mn-lt"/>
              </a:defRPr>
            </a:lvl1pPr>
          </a:lstStyle>
          <a:p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4161003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6492255"/>
            <a:ext cx="12191496" cy="365745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9114476" y="6476471"/>
            <a:ext cx="400770" cy="400576"/>
            <a:chOff x="9007162" y="6249540"/>
            <a:chExt cx="596050" cy="595760"/>
          </a:xfrm>
        </p:grpSpPr>
        <p:sp>
          <p:nvSpPr>
            <p:cNvPr id="25" name="Oval 24"/>
            <p:cNvSpPr/>
            <p:nvPr userDrawn="1"/>
          </p:nvSpPr>
          <p:spPr>
            <a:xfrm>
              <a:off x="9007162" y="6249540"/>
              <a:ext cx="595762" cy="595760"/>
            </a:xfrm>
            <a:prstGeom prst="ellipse">
              <a:avLst/>
            </a:prstGeom>
            <a:solidFill>
              <a:srgbClr val="F9F9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8" t="13139" r="71967" b="65134"/>
            <a:stretch/>
          </p:blipFill>
          <p:spPr>
            <a:xfrm>
              <a:off x="9021779" y="6257412"/>
              <a:ext cx="581433" cy="547400"/>
            </a:xfrm>
            <a:prstGeom prst="rect">
              <a:avLst/>
            </a:prstGeom>
          </p:spPr>
        </p:pic>
      </p:grp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7970184-A5A9-471F-9D7E-DF08F9A878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656" y="3186"/>
            <a:ext cx="8675720" cy="4506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600">
                <a:solidFill>
                  <a:srgbClr val="0F75BC"/>
                </a:solidFill>
                <a:latin typeface="+mn-lt"/>
              </a:defRPr>
            </a:lvl1pPr>
          </a:lstStyle>
          <a:p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642408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17A767C-26F9-468C-B9B8-55B22A15DE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6492255"/>
            <a:ext cx="12191496" cy="365745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D44BD561-0B06-464A-8DCF-16B4E9AD8C03}"/>
              </a:ext>
            </a:extLst>
          </p:cNvPr>
          <p:cNvGrpSpPr/>
          <p:nvPr userDrawn="1"/>
        </p:nvGrpSpPr>
        <p:grpSpPr>
          <a:xfrm>
            <a:off x="9114476" y="6476471"/>
            <a:ext cx="400770" cy="400576"/>
            <a:chOff x="9007162" y="6249540"/>
            <a:chExt cx="596050" cy="59576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A80E70A1-3222-4E62-B9FB-C1826098B2A8}"/>
                </a:ext>
              </a:extLst>
            </p:cNvPr>
            <p:cNvSpPr/>
            <p:nvPr userDrawn="1"/>
          </p:nvSpPr>
          <p:spPr>
            <a:xfrm>
              <a:off x="9007162" y="6249540"/>
              <a:ext cx="595762" cy="595760"/>
            </a:xfrm>
            <a:prstGeom prst="ellipse">
              <a:avLst/>
            </a:prstGeom>
            <a:solidFill>
              <a:srgbClr val="F9F9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4BEACB9-1964-4233-91F9-834ECC3B409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8" t="13139" r="71967" b="65134"/>
            <a:stretch/>
          </p:blipFill>
          <p:spPr>
            <a:xfrm>
              <a:off x="9021779" y="6257412"/>
              <a:ext cx="581433" cy="547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501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27891-1E30-44FE-955D-84D91822B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5FF8EA-919F-4403-966F-A150B18467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96D757-B05A-4FC9-816D-2D33FCCC11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AAE86-B26D-49E0-AE42-6B8765783320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65E4A2-3C1D-4F8C-87E6-2B56FCDE52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8F5FCD-4773-4743-AA20-93A92DCDE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051B66-F0E6-4D43-8ED1-FF0DE6D25D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534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EAD141-1ACA-4AA8-9028-1EAF9D9E92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A62FEE-2766-46B4-A02E-53811A55A4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2EA40B-E158-4CB7-8F58-18A93EC28D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3A6F2C-8AD3-428F-87B5-8F969B983E29}" type="datetimeFigureOut">
              <a:rPr lang="en-IN" smtClean="0"/>
              <a:t>17-01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CD2DED-EF05-4548-818A-5E34BBC668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E4789E-9E64-4B9D-ABDB-4ADB05865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EED0C-7862-499F-AD41-CEF773B18D0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65099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B20A85-FD56-4766-AE47-4566794645A3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BE46E-CB2A-464F-BACA-9D344C1C3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7346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2C6F17-56B8-4247-A09D-6E2640A3D4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CC5E2B-2BC7-473C-A5B4-952ACA3B07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2169A9-824A-47D6-A825-830B38721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3A6F2C-8AD3-428F-87B5-8F969B983E29}" type="datetimeFigureOut">
              <a:rPr lang="en-IN" smtClean="0"/>
              <a:t>17-01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7FA129-5F0D-4471-9036-2D68D3D25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1AC61F-1E33-40D8-9E9C-3AF89535E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EED0C-7862-499F-AD41-CEF773B18D0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4105088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8A8A4-8509-4447-A4A7-0C87BB56D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99BDE4-F371-40C2-8FDB-A5E74D55D3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FE2D72-2E23-4DF4-A3E1-810ECE40E8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3A6F2C-8AD3-428F-87B5-8F969B983E29}" type="datetimeFigureOut">
              <a:rPr lang="en-IN" smtClean="0"/>
              <a:t>17-01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8D5D44-806E-4886-9B35-C1F6F1EC9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8A7F1F-A709-4C54-97A2-E2DBBF138A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EED0C-7862-499F-AD41-CEF773B18D0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9312454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492EF3-FCC6-4C58-8E7F-40CB3D30C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7D15B-9618-4EBF-B7B0-DA79EF0F11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CC0B8E-6741-4A83-890A-2BBBB7B43D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2C6B8B-BE15-4C72-9F07-3FB3D724D5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3A6F2C-8AD3-428F-87B5-8F969B983E29}" type="datetimeFigureOut">
              <a:rPr lang="en-IN" smtClean="0"/>
              <a:t>17-01-2020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176266-B308-4285-9BAB-24C7C94705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C3E26E-5D63-4229-9B0F-55131D82B9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EED0C-7862-499F-AD41-CEF773B18D0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7849030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112B65-5624-4B96-9249-69D0E8C07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6536D6-2263-4AC4-93AC-572D673E01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460972-F5D4-41E7-904F-2B44269F8C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D7244E-421B-4141-9813-4888CC18C3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C914CE3-21BC-4405-B51E-1A14D2E6337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0633932-2355-47D3-9D33-A3E2F38B03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3A6F2C-8AD3-428F-87B5-8F969B983E29}" type="datetimeFigureOut">
              <a:rPr lang="en-IN" smtClean="0"/>
              <a:t>17-01-2020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256108E-FAA7-4C4F-B76D-0488444F83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90EA32-28BC-4909-B0B1-0CB7A6260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EED0C-7862-499F-AD41-CEF773B18D0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6954944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FB566B-A880-4826-8845-93BC8B013F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570F13-1422-43C3-B968-69303CA816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3A6F2C-8AD3-428F-87B5-8F969B983E29}" type="datetimeFigureOut">
              <a:rPr lang="en-IN" smtClean="0"/>
              <a:t>17-01-2020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20D9FE-1190-4844-8DC2-103BDE5348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137A9B-9E07-4E4D-9A1A-E08A95D61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EED0C-7862-499F-AD41-CEF773B18D0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4138348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F164B4-BA68-41A8-B2A8-CF341893FC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3A6F2C-8AD3-428F-87B5-8F969B983E29}" type="datetimeFigureOut">
              <a:rPr lang="en-IN" smtClean="0"/>
              <a:t>17-01-2020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D301E2-11B2-406F-A21B-327F4CFD70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5C708B-68FF-415D-9E4A-9C8C748F4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EED0C-7862-499F-AD41-CEF773B18D0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2817495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6FA916-4A34-4CF4-A6BA-8D83387BE9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2052D5-FA07-4C2D-B216-12D4A7E730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5B55F1-C732-4FF6-9ABB-62FE3131CD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F49BF8-630F-4FAD-B386-A2905E6CDF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3A6F2C-8AD3-428F-87B5-8F969B983E29}" type="datetimeFigureOut">
              <a:rPr lang="en-IN" smtClean="0"/>
              <a:t>17-01-2020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F05477-AE9E-40B2-A8D5-9FE9F08035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145EC0-4B10-4FD2-AA99-B9887D68D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EED0C-7862-499F-AD41-CEF773B18D0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9572164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D9C5CB-5F44-4B92-8A4F-858F19D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E4F25C-4D8D-4282-91FD-D85274DF6D8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01E7A1-BE31-4F1B-90E5-3749644C6F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7DE745-B9AA-48F8-B714-A05B74B9B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3A6F2C-8AD3-428F-87B5-8F969B983E29}" type="datetimeFigureOut">
              <a:rPr lang="en-IN" smtClean="0"/>
              <a:t>17-01-2020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4D5D18-FF02-4A62-A5F1-58D5B1B98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B63C82-4D92-4893-AA37-D8B4937CB2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EED0C-7862-499F-AD41-CEF773B18D0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3537552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D00849-C5EB-4F65-9935-38AFD06138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5C3DE5F-D094-4504-A437-B760823D61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44A301-E4D2-4F6E-9F8D-3839583870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3A6F2C-8AD3-428F-87B5-8F969B983E29}" type="datetimeFigureOut">
              <a:rPr lang="en-IN" smtClean="0"/>
              <a:t>17-01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4CA076-CDB3-4ADA-BA53-491B501242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C8B787-F945-4838-B17F-A73D58E0A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EED0C-7862-499F-AD41-CEF773B18D0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8007495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030107A-6342-45FA-83BA-3E930C450E6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57F8755-5174-40EC-BD35-7F6B0609AE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C5955A-8C83-4AD6-A9A0-3AD6FA2A9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3A6F2C-8AD3-428F-87B5-8F969B983E29}" type="datetimeFigureOut">
              <a:rPr lang="en-IN" smtClean="0"/>
              <a:t>17-01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6FD6BB-7B1A-421E-9300-A4B83B699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BDEACF-0E6C-4C17-B540-C316ACA0FD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EED0C-7862-499F-AD41-CEF773B18D0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271867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B20A85-FD56-4766-AE47-4566794645A3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BE46E-CB2A-464F-BACA-9D344C1C3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48364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6492255"/>
            <a:ext cx="12191496" cy="365745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9114476" y="6476471"/>
            <a:ext cx="400770" cy="400576"/>
            <a:chOff x="9007162" y="6249540"/>
            <a:chExt cx="596050" cy="595760"/>
          </a:xfrm>
        </p:grpSpPr>
        <p:sp>
          <p:nvSpPr>
            <p:cNvPr id="25" name="Oval 24"/>
            <p:cNvSpPr/>
            <p:nvPr userDrawn="1"/>
          </p:nvSpPr>
          <p:spPr>
            <a:xfrm>
              <a:off x="9007162" y="6249540"/>
              <a:ext cx="595762" cy="595760"/>
            </a:xfrm>
            <a:prstGeom prst="ellipse">
              <a:avLst/>
            </a:prstGeom>
            <a:solidFill>
              <a:srgbClr val="F9F9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noFill/>
                </a:ln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8" t="13139" r="71967" b="65134"/>
            <a:stretch/>
          </p:blipFill>
          <p:spPr>
            <a:xfrm>
              <a:off x="9021779" y="6257412"/>
              <a:ext cx="581433" cy="547400"/>
            </a:xfrm>
            <a:prstGeom prst="rect">
              <a:avLst/>
            </a:prstGeom>
          </p:spPr>
        </p:pic>
      </p:grp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1C8CF049-96E3-4E72-A160-6A84D474A7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656" y="3186"/>
            <a:ext cx="8675720" cy="4506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600">
                <a:solidFill>
                  <a:srgbClr val="0F75BC"/>
                </a:solidFill>
                <a:latin typeface="+mn-lt"/>
              </a:defRPr>
            </a:lvl1pPr>
          </a:lstStyle>
          <a:p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07831732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F8797-5A75-47E8-9075-1B58DD88D2C9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50A293-F5CC-4F83-8577-34EA4A78BA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11298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F8797-5A75-47E8-9075-1B58DD88D2C9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50A293-F5CC-4F83-8577-34EA4A78BA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61069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F8797-5A75-47E8-9075-1B58DD88D2C9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50A293-F5CC-4F83-8577-34EA4A78BA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29380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F8797-5A75-47E8-9075-1B58DD88D2C9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50A293-F5CC-4F83-8577-34EA4A78BA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22393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F8797-5A75-47E8-9075-1B58DD88D2C9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50A293-F5CC-4F83-8577-34EA4A78BA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77910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F8797-5A75-47E8-9075-1B58DD88D2C9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50A293-F5CC-4F83-8577-34EA4A78BA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806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F8797-5A75-47E8-9075-1B58DD88D2C9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50A293-F5CC-4F83-8577-34EA4A78BA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0173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F8797-5A75-47E8-9075-1B58DD88D2C9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50A293-F5CC-4F83-8577-34EA4A78BA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12232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F8797-5A75-47E8-9075-1B58DD88D2C9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50A293-F5CC-4F83-8577-34EA4A78BA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3760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B20A85-FD56-4766-AE47-4566794645A3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BE46E-CB2A-464F-BACA-9D344C1C3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27797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F8797-5A75-47E8-9075-1B58DD88D2C9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50A293-F5CC-4F83-8577-34EA4A78BA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664238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F8797-5A75-47E8-9075-1B58DD88D2C9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50A293-F5CC-4F83-8577-34EA4A78BA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15320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17A767C-26F9-468C-B9B8-55B22A15DE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6492255"/>
            <a:ext cx="12191496" cy="365745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D44BD561-0B06-464A-8DCF-16B4E9AD8C03}"/>
              </a:ext>
            </a:extLst>
          </p:cNvPr>
          <p:cNvGrpSpPr/>
          <p:nvPr userDrawn="1"/>
        </p:nvGrpSpPr>
        <p:grpSpPr>
          <a:xfrm>
            <a:off x="9114476" y="6476471"/>
            <a:ext cx="400770" cy="400576"/>
            <a:chOff x="9007162" y="6249540"/>
            <a:chExt cx="596050" cy="59576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A80E70A1-3222-4E62-B9FB-C1826098B2A8}"/>
                </a:ext>
              </a:extLst>
            </p:cNvPr>
            <p:cNvSpPr/>
            <p:nvPr userDrawn="1"/>
          </p:nvSpPr>
          <p:spPr>
            <a:xfrm>
              <a:off x="9007162" y="6249540"/>
              <a:ext cx="595762" cy="595760"/>
            </a:xfrm>
            <a:prstGeom prst="ellipse">
              <a:avLst/>
            </a:prstGeom>
            <a:solidFill>
              <a:srgbClr val="F9F9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noFill/>
                </a:ln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4BEACB9-1964-4233-91F9-834ECC3B409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8" t="13139" r="71967" b="65134"/>
            <a:stretch/>
          </p:blipFill>
          <p:spPr>
            <a:xfrm>
              <a:off x="9021779" y="6257412"/>
              <a:ext cx="581433" cy="547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464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" y="6492255"/>
            <a:ext cx="12191496" cy="365745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9114476" y="6476471"/>
            <a:ext cx="400770" cy="400576"/>
            <a:chOff x="9007162" y="6249540"/>
            <a:chExt cx="596050" cy="595760"/>
          </a:xfrm>
        </p:grpSpPr>
        <p:sp>
          <p:nvSpPr>
            <p:cNvPr id="25" name="Oval 24"/>
            <p:cNvSpPr/>
            <p:nvPr userDrawn="1"/>
          </p:nvSpPr>
          <p:spPr>
            <a:xfrm>
              <a:off x="9007162" y="6249540"/>
              <a:ext cx="595762" cy="595760"/>
            </a:xfrm>
            <a:prstGeom prst="ellipse">
              <a:avLst/>
            </a:prstGeom>
            <a:solidFill>
              <a:srgbClr val="F9F9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>
                  <a:noFill/>
                </a:ln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021779" y="6257412"/>
              <a:ext cx="581433" cy="547400"/>
            </a:xfrm>
            <a:prstGeom prst="rect">
              <a:avLst/>
            </a:prstGeom>
          </p:spPr>
        </p:pic>
      </p:grp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7970184-A5A9-471F-9D7E-DF08F9A878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656" y="3186"/>
            <a:ext cx="8675720" cy="4506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600">
                <a:solidFill>
                  <a:srgbClr val="0F75BC"/>
                </a:solidFill>
                <a:latin typeface="+mn-lt"/>
              </a:defRPr>
            </a:lvl1pPr>
          </a:lstStyle>
          <a:p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7797170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B20A85-FD56-4766-AE47-4566794645A3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BE46E-CB2A-464F-BACA-9D344C1C3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0907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9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B20A85-FD56-4766-AE47-4566794645A3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BBE46E-CB2A-464F-BACA-9D344C1C3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331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01DEF5-0C8C-4FA2-B502-D64DC79D7825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BB6412-1C87-4DCB-81EF-29C0A37FBA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6913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68D882-57FE-4326-BAFF-682183B76F58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BA987B-1AA3-4BDC-AC3C-1AB413EFA1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5296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72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F327C1-DEB1-48AB-9CBC-E7984ABC67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66CD93-A5B7-45F3-B3BD-897E40371D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23C36B-9520-444D-8A66-D3C60C3F6D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522BCE-94BD-450D-828F-1DD8B7945B12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974D2F-940B-42FC-A427-8B9B7478CB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A6770A-0CF5-4D1D-A42C-0E00F2A3FB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6EA711-647B-46CE-82D2-1DB06BC680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875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F327C1-DEB1-48AB-9CBC-E7984ABC67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66CD93-A5B7-45F3-B3BD-897E40371D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23C36B-9520-444D-8A66-D3C60C3F6D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522BCE-94BD-450D-828F-1DD8B7945B12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974D2F-940B-42FC-A427-8B9B7478CB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A6770A-0CF5-4D1D-A42C-0E00F2A3FB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6EA711-647B-46CE-82D2-1DB06BC680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8276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3EA4831-2044-473B-B40D-9350419FF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7D285B-ACDF-4917-B2A0-81897E5EE8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D42CF-71C9-4973-AD40-A7E769FAB9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3A6F2C-8AD3-428F-87B5-8F969B983E29}" type="datetimeFigureOut">
              <a:rPr lang="en-IN" smtClean="0"/>
              <a:t>17-01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F044B1-EFE3-4C61-9390-3B873F349A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454652-864F-4A05-9B2C-3CCEC580F5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BEED0C-7862-499F-AD41-CEF773B18D0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28765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BF8797-5A75-47E8-9075-1B58DD88D2C9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50A293-F5CC-4F83-8577-34EA4A78BA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049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jpe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hyperlink" Target="http://www.autofacets.com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7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8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0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2.png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4.png"/><Relationship Id="rId18" Type="http://schemas.openxmlformats.org/officeDocument/2006/relationships/image" Target="../media/image69.png"/><Relationship Id="rId26" Type="http://schemas.openxmlformats.org/officeDocument/2006/relationships/image" Target="../media/image77.png"/><Relationship Id="rId39" Type="http://schemas.openxmlformats.org/officeDocument/2006/relationships/image" Target="../media/image90.png"/><Relationship Id="rId21" Type="http://schemas.openxmlformats.org/officeDocument/2006/relationships/image" Target="../media/image72.png"/><Relationship Id="rId34" Type="http://schemas.openxmlformats.org/officeDocument/2006/relationships/image" Target="../media/image85.png"/><Relationship Id="rId42" Type="http://schemas.openxmlformats.org/officeDocument/2006/relationships/image" Target="../media/image93.png"/><Relationship Id="rId47" Type="http://schemas.openxmlformats.org/officeDocument/2006/relationships/image" Target="../media/image98.png"/><Relationship Id="rId50" Type="http://schemas.openxmlformats.org/officeDocument/2006/relationships/image" Target="../media/image101.jpeg"/><Relationship Id="rId55" Type="http://schemas.openxmlformats.org/officeDocument/2006/relationships/image" Target="../media/image106.png"/><Relationship Id="rId7" Type="http://schemas.openxmlformats.org/officeDocument/2006/relationships/image" Target="../media/image58.png"/><Relationship Id="rId2" Type="http://schemas.openxmlformats.org/officeDocument/2006/relationships/image" Target="../media/image53.png"/><Relationship Id="rId16" Type="http://schemas.openxmlformats.org/officeDocument/2006/relationships/image" Target="../media/image67.png"/><Relationship Id="rId29" Type="http://schemas.openxmlformats.org/officeDocument/2006/relationships/image" Target="../media/image80.png"/><Relationship Id="rId11" Type="http://schemas.openxmlformats.org/officeDocument/2006/relationships/image" Target="../media/image62.png"/><Relationship Id="rId24" Type="http://schemas.openxmlformats.org/officeDocument/2006/relationships/image" Target="../media/image75.png"/><Relationship Id="rId32" Type="http://schemas.openxmlformats.org/officeDocument/2006/relationships/image" Target="../media/image83.png"/><Relationship Id="rId37" Type="http://schemas.openxmlformats.org/officeDocument/2006/relationships/image" Target="../media/image88.png"/><Relationship Id="rId40" Type="http://schemas.openxmlformats.org/officeDocument/2006/relationships/image" Target="../media/image91.png"/><Relationship Id="rId45" Type="http://schemas.openxmlformats.org/officeDocument/2006/relationships/image" Target="../media/image96.png"/><Relationship Id="rId53" Type="http://schemas.openxmlformats.org/officeDocument/2006/relationships/image" Target="../media/image104.png"/><Relationship Id="rId58" Type="http://schemas.openxmlformats.org/officeDocument/2006/relationships/image" Target="../media/image109.png"/><Relationship Id="rId5" Type="http://schemas.openxmlformats.org/officeDocument/2006/relationships/image" Target="../media/image56.png"/><Relationship Id="rId19" Type="http://schemas.openxmlformats.org/officeDocument/2006/relationships/image" Target="../media/image70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Relationship Id="rId14" Type="http://schemas.openxmlformats.org/officeDocument/2006/relationships/image" Target="../media/image65.png"/><Relationship Id="rId22" Type="http://schemas.openxmlformats.org/officeDocument/2006/relationships/image" Target="../media/image73.png"/><Relationship Id="rId27" Type="http://schemas.openxmlformats.org/officeDocument/2006/relationships/image" Target="../media/image78.png"/><Relationship Id="rId30" Type="http://schemas.openxmlformats.org/officeDocument/2006/relationships/image" Target="../media/image81.png"/><Relationship Id="rId35" Type="http://schemas.openxmlformats.org/officeDocument/2006/relationships/image" Target="../media/image86.png"/><Relationship Id="rId43" Type="http://schemas.openxmlformats.org/officeDocument/2006/relationships/image" Target="../media/image94.png"/><Relationship Id="rId48" Type="http://schemas.openxmlformats.org/officeDocument/2006/relationships/image" Target="../media/image99.jpeg"/><Relationship Id="rId56" Type="http://schemas.openxmlformats.org/officeDocument/2006/relationships/image" Target="../media/image107.jpeg"/><Relationship Id="rId8" Type="http://schemas.openxmlformats.org/officeDocument/2006/relationships/image" Target="../media/image59.png"/><Relationship Id="rId51" Type="http://schemas.openxmlformats.org/officeDocument/2006/relationships/image" Target="../media/image102.png"/><Relationship Id="rId3" Type="http://schemas.openxmlformats.org/officeDocument/2006/relationships/image" Target="../media/image54.png"/><Relationship Id="rId12" Type="http://schemas.openxmlformats.org/officeDocument/2006/relationships/image" Target="../media/image63.png"/><Relationship Id="rId17" Type="http://schemas.openxmlformats.org/officeDocument/2006/relationships/image" Target="../media/image68.png"/><Relationship Id="rId25" Type="http://schemas.openxmlformats.org/officeDocument/2006/relationships/image" Target="../media/image76.png"/><Relationship Id="rId33" Type="http://schemas.openxmlformats.org/officeDocument/2006/relationships/image" Target="../media/image84.png"/><Relationship Id="rId38" Type="http://schemas.openxmlformats.org/officeDocument/2006/relationships/image" Target="../media/image89.png"/><Relationship Id="rId46" Type="http://schemas.openxmlformats.org/officeDocument/2006/relationships/image" Target="../media/image97.png"/><Relationship Id="rId59" Type="http://schemas.openxmlformats.org/officeDocument/2006/relationships/image" Target="../media/image110.png"/><Relationship Id="rId20" Type="http://schemas.openxmlformats.org/officeDocument/2006/relationships/image" Target="../media/image71.png"/><Relationship Id="rId41" Type="http://schemas.openxmlformats.org/officeDocument/2006/relationships/image" Target="../media/image92.png"/><Relationship Id="rId54" Type="http://schemas.openxmlformats.org/officeDocument/2006/relationships/image" Target="../media/image105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57.png"/><Relationship Id="rId15" Type="http://schemas.openxmlformats.org/officeDocument/2006/relationships/image" Target="../media/image66.png"/><Relationship Id="rId23" Type="http://schemas.openxmlformats.org/officeDocument/2006/relationships/image" Target="../media/image74.png"/><Relationship Id="rId28" Type="http://schemas.openxmlformats.org/officeDocument/2006/relationships/image" Target="../media/image79.png"/><Relationship Id="rId36" Type="http://schemas.openxmlformats.org/officeDocument/2006/relationships/image" Target="../media/image87.png"/><Relationship Id="rId49" Type="http://schemas.openxmlformats.org/officeDocument/2006/relationships/image" Target="../media/image100.jpeg"/><Relationship Id="rId57" Type="http://schemas.openxmlformats.org/officeDocument/2006/relationships/image" Target="../media/image108.png"/><Relationship Id="rId10" Type="http://schemas.openxmlformats.org/officeDocument/2006/relationships/image" Target="../media/image61.png"/><Relationship Id="rId31" Type="http://schemas.openxmlformats.org/officeDocument/2006/relationships/image" Target="../media/image82.png"/><Relationship Id="rId44" Type="http://schemas.openxmlformats.org/officeDocument/2006/relationships/image" Target="../media/image95.png"/><Relationship Id="rId52" Type="http://schemas.openxmlformats.org/officeDocument/2006/relationships/image" Target="../media/image103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24.png"/><Relationship Id="rId4" Type="http://schemas.microsoft.com/office/2007/relationships/hdphoto" Target="../media/hdphoto2.wdp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8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36C66DE-03A9-4485-94C0-D9BF579FD0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33" t="11401" r="-7432"/>
          <a:stretch/>
        </p:blipFill>
        <p:spPr>
          <a:xfrm flipH="1">
            <a:off x="3720847" y="2588159"/>
            <a:ext cx="2610277" cy="1983321"/>
          </a:xfrm>
          <a:prstGeom prst="parallelogram">
            <a:avLst>
              <a:gd name="adj" fmla="val 56967"/>
            </a:avLst>
          </a:prstGeom>
          <a:solidFill>
            <a:srgbClr val="0A0A0A"/>
          </a:solidFill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439" t="24184" r="27057" b="6313"/>
          <a:stretch/>
        </p:blipFill>
        <p:spPr>
          <a:xfrm flipH="1">
            <a:off x="2082279" y="2588160"/>
            <a:ext cx="2610280" cy="1983320"/>
          </a:xfrm>
          <a:prstGeom prst="parallelogram">
            <a:avLst>
              <a:gd name="adj" fmla="val 56647"/>
            </a:avLst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25040" y="2588210"/>
            <a:ext cx="2610280" cy="1976781"/>
          </a:xfrm>
          <a:prstGeom prst="parallelogram">
            <a:avLst>
              <a:gd name="adj" fmla="val 56647"/>
            </a:avLst>
          </a:prstGeom>
        </p:spPr>
      </p:pic>
      <p:sp>
        <p:nvSpPr>
          <p:cNvPr id="12" name="Oval 11"/>
          <p:cNvSpPr/>
          <p:nvPr/>
        </p:nvSpPr>
        <p:spPr>
          <a:xfrm>
            <a:off x="4022613" y="772526"/>
            <a:ext cx="729778" cy="7297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2D70CE5-05B0-4CAD-9C1E-67EBC14C8A8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1462" y="777715"/>
            <a:ext cx="3727201" cy="72615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6A70632-B9A5-4FD7-BADA-49B188B32DEE}"/>
              </a:ext>
            </a:extLst>
          </p:cNvPr>
          <p:cNvCxnSpPr/>
          <p:nvPr/>
        </p:nvCxnSpPr>
        <p:spPr>
          <a:xfrm>
            <a:off x="7911940" y="802963"/>
            <a:ext cx="0" cy="68975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634D0AA0-DF33-4692-BAA1-93B9ECDCAB9C}"/>
              </a:ext>
            </a:extLst>
          </p:cNvPr>
          <p:cNvSpPr txBox="1"/>
          <p:nvPr/>
        </p:nvSpPr>
        <p:spPr>
          <a:xfrm>
            <a:off x="6583021" y="2361270"/>
            <a:ext cx="59340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0F75BC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STC</a:t>
            </a:r>
            <a:r>
              <a:rPr kumimoji="0" lang="en-US" sz="4800" b="1" i="0" u="none" strike="noStrike" kern="1200" cap="none" spc="0" normalizeH="0" noProof="0" dirty="0">
                <a:ln>
                  <a:noFill/>
                </a:ln>
                <a:solidFill>
                  <a:srgbClr val="0F75BC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 Overview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64652" y="3192267"/>
            <a:ext cx="43512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y of Working</a:t>
            </a:r>
          </a:p>
        </p:txBody>
      </p:sp>
    </p:spTree>
    <p:extLst>
      <p:ext uri="{BB962C8B-B14F-4D97-AF65-F5344CB8AC3E}">
        <p14:creationId xmlns:p14="http://schemas.microsoft.com/office/powerpoint/2010/main" val="3963195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C15347B-84B9-41A6-BAF8-0EC789AB7F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0296348C-27BF-4864-A256-C8FF1ACC7D9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C2D50">
              <a:alpha val="7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algn="r">
              <a:lnSpc>
                <a:spcPct val="80000"/>
              </a:lnSpc>
              <a:spcAft>
                <a:spcPts val="100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en-US" sz="14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554963" y="1318073"/>
            <a:ext cx="10521370" cy="4439632"/>
          </a:xfrm>
          <a:prstGeom prst="rect">
            <a:avLst/>
          </a:prstGeom>
        </p:spPr>
        <p:txBody>
          <a:bodyPr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273050">
              <a:lnSpc>
                <a:spcPts val="2300"/>
              </a:lnSpc>
              <a:spcBef>
                <a:spcPts val="0"/>
              </a:spcBef>
              <a:spcAft>
                <a:spcPts val="1400"/>
              </a:spcAft>
            </a:pPr>
            <a:endParaRPr lang="en-US" sz="1200" dirty="0">
              <a:solidFill>
                <a:srgbClr val="FFC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0" y="0"/>
            <a:ext cx="961211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FFC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otive</a:t>
            </a:r>
            <a:r>
              <a:rPr lang="en-US" sz="2800" b="1" dirty="0">
                <a:solidFill>
                  <a:schemeClr val="accent3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- </a:t>
            </a:r>
            <a:r>
              <a:rPr lang="en-US" sz="2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lobal Leader in Digital Automotive Solutions</a:t>
            </a: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A6F337AE-1656-4525-8B83-336090E1BB5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3940" y="66102"/>
            <a:ext cx="2054670" cy="400300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90F3A76B-0276-4D75-BF22-375D349C8208}"/>
              </a:ext>
            </a:extLst>
          </p:cNvPr>
          <p:cNvSpPr txBox="1"/>
          <p:nvPr/>
        </p:nvSpPr>
        <p:spPr>
          <a:xfrm>
            <a:off x="4031360" y="6084624"/>
            <a:ext cx="4129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E DELIVER VALUE WITH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53BB88F-C5AE-471D-98D5-40B074711AA7}"/>
              </a:ext>
            </a:extLst>
          </p:cNvPr>
          <p:cNvSpPr txBox="1"/>
          <p:nvPr/>
        </p:nvSpPr>
        <p:spPr>
          <a:xfrm>
            <a:off x="3930646" y="6400556"/>
            <a:ext cx="43307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main Experience | Business Solutions | Technology expertis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37D8F5A-FEA7-48EB-985B-8EA5AB610E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24920" y="380810"/>
            <a:ext cx="8142160" cy="5501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762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C15347B-84B9-41A6-BAF8-0EC789AB7F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0296348C-27BF-4864-A256-C8FF1ACC7D9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C2D50">
              <a:alpha val="7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algn="r">
              <a:lnSpc>
                <a:spcPct val="80000"/>
              </a:lnSpc>
              <a:spcAft>
                <a:spcPts val="100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en-US" sz="14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554963" y="1318073"/>
            <a:ext cx="10521370" cy="4439632"/>
          </a:xfrm>
          <a:prstGeom prst="rect">
            <a:avLst/>
          </a:prstGeom>
        </p:spPr>
        <p:txBody>
          <a:bodyPr>
            <a:no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44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30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028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273050">
              <a:lnSpc>
                <a:spcPts val="2300"/>
              </a:lnSpc>
              <a:spcBef>
                <a:spcPts val="0"/>
              </a:spcBef>
              <a:spcAft>
                <a:spcPts val="1400"/>
              </a:spcAft>
            </a:pPr>
            <a:endParaRPr lang="en-US" sz="1200" dirty="0">
              <a:solidFill>
                <a:srgbClr val="FFC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ctangle 8">
            <a:hlinkClick r:id="rId4"/>
          </p:cNvPr>
          <p:cNvSpPr/>
          <p:nvPr/>
        </p:nvSpPr>
        <p:spPr>
          <a:xfrm>
            <a:off x="10253340" y="6117739"/>
            <a:ext cx="180292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FFC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ww.autofacets.com</a:t>
            </a:r>
          </a:p>
        </p:txBody>
      </p:sp>
      <p:sp>
        <p:nvSpPr>
          <p:cNvPr id="18" name="Rectangle 17"/>
          <p:cNvSpPr/>
          <p:nvPr/>
        </p:nvSpPr>
        <p:spPr>
          <a:xfrm>
            <a:off x="554963" y="374488"/>
            <a:ext cx="961211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FFC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otive</a:t>
            </a:r>
            <a:r>
              <a:rPr lang="en-US" sz="2800" b="1" dirty="0">
                <a:solidFill>
                  <a:schemeClr val="accent3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- </a:t>
            </a:r>
            <a:r>
              <a:rPr lang="en-US" sz="2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lobal Leader in Digital Automotive Solutions</a:t>
            </a: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A6F337AE-1656-4525-8B83-336090E1BB5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8665" y="1115284"/>
            <a:ext cx="2054670" cy="400300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90F3A76B-0276-4D75-BF22-375D349C8208}"/>
              </a:ext>
            </a:extLst>
          </p:cNvPr>
          <p:cNvSpPr txBox="1"/>
          <p:nvPr/>
        </p:nvSpPr>
        <p:spPr>
          <a:xfrm>
            <a:off x="4031360" y="5699031"/>
            <a:ext cx="4129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E DELIVER VALUE WITH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53BB88F-C5AE-471D-98D5-40B074711AA7}"/>
              </a:ext>
            </a:extLst>
          </p:cNvPr>
          <p:cNvSpPr txBox="1"/>
          <p:nvPr/>
        </p:nvSpPr>
        <p:spPr>
          <a:xfrm>
            <a:off x="3930646" y="6014963"/>
            <a:ext cx="43307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main Experience | Business Solutions | Technology expertise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2D2305E-25AD-4D6A-BBFF-00962454CF55}"/>
              </a:ext>
            </a:extLst>
          </p:cNvPr>
          <p:cNvSpPr txBox="1"/>
          <p:nvPr/>
        </p:nvSpPr>
        <p:spPr>
          <a:xfrm>
            <a:off x="689836" y="1389368"/>
            <a:ext cx="16573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VICES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4A7D32D-B4DE-4496-B4A5-DD5E168028BF}"/>
              </a:ext>
            </a:extLst>
          </p:cNvPr>
          <p:cNvSpPr txBox="1"/>
          <p:nvPr/>
        </p:nvSpPr>
        <p:spPr>
          <a:xfrm>
            <a:off x="9690785" y="1389368"/>
            <a:ext cx="16573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S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21919A5-55E9-468C-A734-1CBE6FD8BC4F}"/>
              </a:ext>
            </a:extLst>
          </p:cNvPr>
          <p:cNvSpPr txBox="1"/>
          <p:nvPr/>
        </p:nvSpPr>
        <p:spPr>
          <a:xfrm>
            <a:off x="726892" y="3450552"/>
            <a:ext cx="16573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UTION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1018E36-CB69-46A7-A37C-8E2E91C61149}"/>
              </a:ext>
            </a:extLst>
          </p:cNvPr>
          <p:cNvSpPr txBox="1"/>
          <p:nvPr/>
        </p:nvSpPr>
        <p:spPr>
          <a:xfrm>
            <a:off x="689836" y="1830460"/>
            <a:ext cx="23431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ital Transformati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otive IT consult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 Lifecycle Management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terprise Mobility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siness Intelligence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6D881E2B-D753-4CE1-B78B-CD8ADD32F1A3}"/>
              </a:ext>
            </a:extLst>
          </p:cNvPr>
          <p:cNvSpPr txBox="1"/>
          <p:nvPr/>
        </p:nvSpPr>
        <p:spPr>
          <a:xfrm>
            <a:off x="9690785" y="1830460"/>
            <a:ext cx="19880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ftermarket Sui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 Connect Platform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rts Ecommerc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-Lytics platform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ase &amp; Rental Sui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bility As a Service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92FF4066-EF5C-4F5E-B945-C610AB8A306F}"/>
              </a:ext>
            </a:extLst>
          </p:cNvPr>
          <p:cNvSpPr txBox="1"/>
          <p:nvPr/>
        </p:nvSpPr>
        <p:spPr>
          <a:xfrm>
            <a:off x="726892" y="3891645"/>
            <a:ext cx="234315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active Maintenance 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lematics 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rts Catalogue, PIM.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ital Marketing 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grated Mobility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ivate Leas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60° Customer 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havior Analytic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siness Intelligenc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E5E6A35-814D-4E80-9179-75FD8A4E1288}"/>
              </a:ext>
            </a:extLst>
          </p:cNvPr>
          <p:cNvSpPr txBox="1"/>
          <p:nvPr/>
        </p:nvSpPr>
        <p:spPr>
          <a:xfrm>
            <a:off x="9801648" y="3536572"/>
            <a:ext cx="19740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NOVATION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1DBF9F7E-B3AF-410A-B91B-6EB1E2A38F16}"/>
              </a:ext>
            </a:extLst>
          </p:cNvPr>
          <p:cNvSpPr txBox="1"/>
          <p:nvPr/>
        </p:nvSpPr>
        <p:spPr>
          <a:xfrm>
            <a:off x="9801648" y="3977664"/>
            <a:ext cx="187718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otive Blockchai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rtificial Intelligence 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ynamic Pricing Science 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otive IoT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chine Learn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ig Data</a:t>
            </a:r>
          </a:p>
          <a:p>
            <a:endParaRPr lang="en-US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37D8F5A-FEA7-48EB-985B-8EA5AB610E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51049" y="1371600"/>
            <a:ext cx="6089902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173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71">
            <a:extLst>
              <a:ext uri="{FF2B5EF4-FFF2-40B4-BE49-F238E27FC236}">
                <a16:creationId xmlns:a16="http://schemas.microsoft.com/office/drawing/2014/main" id="{73B3FD16-CD71-4B2A-9D2D-0E20ADCC5B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488935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260D8D8-DF43-46DD-926B-C44FF476E0BC}"/>
              </a:ext>
            </a:extLst>
          </p:cNvPr>
          <p:cNvCxnSpPr>
            <a:cxnSpLocks/>
          </p:cNvCxnSpPr>
          <p:nvPr/>
        </p:nvCxnSpPr>
        <p:spPr>
          <a:xfrm>
            <a:off x="3461138" y="2721280"/>
            <a:ext cx="1769248" cy="25891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99D51EE-77B2-455A-857F-330A766C5E8E}"/>
              </a:ext>
            </a:extLst>
          </p:cNvPr>
          <p:cNvCxnSpPr/>
          <p:nvPr/>
        </p:nvCxnSpPr>
        <p:spPr>
          <a:xfrm>
            <a:off x="3729531" y="1786609"/>
            <a:ext cx="372796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27827FB-FE23-4F61-B091-F8C35A6DD606}"/>
              </a:ext>
            </a:extLst>
          </p:cNvPr>
          <p:cNvCxnSpPr>
            <a:cxnSpLocks/>
            <a:endCxn id="61" idx="4"/>
          </p:cNvCxnSpPr>
          <p:nvPr/>
        </p:nvCxnSpPr>
        <p:spPr>
          <a:xfrm flipV="1">
            <a:off x="6024675" y="2765979"/>
            <a:ext cx="1702087" cy="254307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Arc 5">
            <a:extLst>
              <a:ext uri="{FF2B5EF4-FFF2-40B4-BE49-F238E27FC236}">
                <a16:creationId xmlns:a16="http://schemas.microsoft.com/office/drawing/2014/main" id="{3BDFF446-9A97-437D-AA33-4F60E53D0E4B}"/>
              </a:ext>
            </a:extLst>
          </p:cNvPr>
          <p:cNvSpPr/>
          <p:nvPr/>
        </p:nvSpPr>
        <p:spPr>
          <a:xfrm rot="1232628">
            <a:off x="7262045" y="1797812"/>
            <a:ext cx="717702" cy="746019"/>
          </a:xfrm>
          <a:prstGeom prst="arc">
            <a:avLst>
              <a:gd name="adj1" fmla="val 15688820"/>
              <a:gd name="adj2" fmla="val 413434"/>
            </a:avLst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37FCA940-6D9C-44AC-AD22-5386F0A9F7D5}"/>
              </a:ext>
            </a:extLst>
          </p:cNvPr>
          <p:cNvSpPr/>
          <p:nvPr/>
        </p:nvSpPr>
        <p:spPr>
          <a:xfrm rot="8362474">
            <a:off x="5279999" y="4889134"/>
            <a:ext cx="717702" cy="746019"/>
          </a:xfrm>
          <a:prstGeom prst="arc">
            <a:avLst>
              <a:gd name="adj1" fmla="val 15236451"/>
              <a:gd name="adj2" fmla="val 413434"/>
            </a:avLst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Arc 7">
            <a:extLst>
              <a:ext uri="{FF2B5EF4-FFF2-40B4-BE49-F238E27FC236}">
                <a16:creationId xmlns:a16="http://schemas.microsoft.com/office/drawing/2014/main" id="{544859A2-6E03-420F-BE00-93F49949E62A}"/>
              </a:ext>
            </a:extLst>
          </p:cNvPr>
          <p:cNvSpPr/>
          <p:nvPr/>
        </p:nvSpPr>
        <p:spPr>
          <a:xfrm rot="15058926">
            <a:off x="3223179" y="1863564"/>
            <a:ext cx="789050" cy="678561"/>
          </a:xfrm>
          <a:prstGeom prst="arc">
            <a:avLst>
              <a:gd name="adj1" fmla="val 15688820"/>
              <a:gd name="adj2" fmla="val 413434"/>
            </a:avLst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hevron 10">
            <a:extLst>
              <a:ext uri="{FF2B5EF4-FFF2-40B4-BE49-F238E27FC236}">
                <a16:creationId xmlns:a16="http://schemas.microsoft.com/office/drawing/2014/main" id="{3BA37CA7-82FF-4150-82B9-AE3B6AF1D1D4}"/>
              </a:ext>
            </a:extLst>
          </p:cNvPr>
          <p:cNvSpPr/>
          <p:nvPr/>
        </p:nvSpPr>
        <p:spPr>
          <a:xfrm>
            <a:off x="4299069" y="815864"/>
            <a:ext cx="2954480" cy="30619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003" tIns="8001" rIns="8001" bIns="8001" numCol="1" spcCol="1270" anchor="ctr" anchorCtr="0">
            <a:noAutofit/>
          </a:bodyPr>
          <a:lstStyle/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anufacturing &amp; Sales</a:t>
            </a:r>
          </a:p>
        </p:txBody>
      </p:sp>
      <p:sp>
        <p:nvSpPr>
          <p:cNvPr id="10" name="Chevron 4">
            <a:extLst>
              <a:ext uri="{FF2B5EF4-FFF2-40B4-BE49-F238E27FC236}">
                <a16:creationId xmlns:a16="http://schemas.microsoft.com/office/drawing/2014/main" id="{C2708150-74D6-47CB-B64D-6CE74B1FA8DA}"/>
              </a:ext>
            </a:extLst>
          </p:cNvPr>
          <p:cNvSpPr/>
          <p:nvPr/>
        </p:nvSpPr>
        <p:spPr>
          <a:xfrm>
            <a:off x="3292289" y="1375074"/>
            <a:ext cx="1174897" cy="27104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003" tIns="8001" rIns="8001" bIns="8001" numCol="1" spcCol="1270" anchor="ctr" anchorCtr="0">
            <a:noAutofit/>
          </a:bodyPr>
          <a:lstStyle/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OEM</a:t>
            </a:r>
          </a:p>
        </p:txBody>
      </p:sp>
      <p:sp>
        <p:nvSpPr>
          <p:cNvPr id="11" name="Chevron 4">
            <a:extLst>
              <a:ext uri="{FF2B5EF4-FFF2-40B4-BE49-F238E27FC236}">
                <a16:creationId xmlns:a16="http://schemas.microsoft.com/office/drawing/2014/main" id="{354D83CD-A31C-4A2E-868D-9F61070DC366}"/>
              </a:ext>
            </a:extLst>
          </p:cNvPr>
          <p:cNvSpPr/>
          <p:nvPr/>
        </p:nvSpPr>
        <p:spPr>
          <a:xfrm>
            <a:off x="4259941" y="1375074"/>
            <a:ext cx="970706" cy="27104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003" tIns="8001" rIns="8001" bIns="8001" numCol="1" spcCol="1270" anchor="ctr" anchorCtr="0">
            <a:noAutofit/>
          </a:bodyPr>
          <a:lstStyle/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mporter</a:t>
            </a:r>
          </a:p>
        </p:txBody>
      </p:sp>
      <p:sp>
        <p:nvSpPr>
          <p:cNvPr id="12" name="Chevron 4">
            <a:extLst>
              <a:ext uri="{FF2B5EF4-FFF2-40B4-BE49-F238E27FC236}">
                <a16:creationId xmlns:a16="http://schemas.microsoft.com/office/drawing/2014/main" id="{F529D331-10FE-49A6-A5B4-3C7F8F9DC86E}"/>
              </a:ext>
            </a:extLst>
          </p:cNvPr>
          <p:cNvSpPr/>
          <p:nvPr/>
        </p:nvSpPr>
        <p:spPr>
          <a:xfrm>
            <a:off x="5113413" y="1375074"/>
            <a:ext cx="970706" cy="27104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003" tIns="8001" rIns="8001" bIns="8001" numCol="1" spcCol="1270" anchor="ctr" anchorCtr="0">
            <a:noAutofit/>
          </a:bodyPr>
          <a:lstStyle/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istributors</a:t>
            </a:r>
          </a:p>
        </p:txBody>
      </p:sp>
      <p:sp>
        <p:nvSpPr>
          <p:cNvPr id="13" name="Chevron 4">
            <a:extLst>
              <a:ext uri="{FF2B5EF4-FFF2-40B4-BE49-F238E27FC236}">
                <a16:creationId xmlns:a16="http://schemas.microsoft.com/office/drawing/2014/main" id="{AA604EB7-F0C3-45AC-8129-CCEA54C43EF1}"/>
              </a:ext>
            </a:extLst>
          </p:cNvPr>
          <p:cNvSpPr/>
          <p:nvPr/>
        </p:nvSpPr>
        <p:spPr>
          <a:xfrm>
            <a:off x="7535556" y="3296988"/>
            <a:ext cx="1308511" cy="29438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003" tIns="8001" rIns="8001" bIns="8001" numCol="1" spcCol="1270" anchor="ctr" anchorCtr="0">
            <a:noAutofit/>
          </a:bodyPr>
          <a:lstStyle/>
          <a:p>
            <a:pPr marL="0" marR="0" lvl="0" indent="0" algn="l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aintenance Services</a:t>
            </a:r>
          </a:p>
        </p:txBody>
      </p:sp>
      <p:sp>
        <p:nvSpPr>
          <p:cNvPr id="14" name="Chevron 4">
            <a:extLst>
              <a:ext uri="{FF2B5EF4-FFF2-40B4-BE49-F238E27FC236}">
                <a16:creationId xmlns:a16="http://schemas.microsoft.com/office/drawing/2014/main" id="{4457591E-DBC5-4538-BCBA-F0D6B08DA45A}"/>
              </a:ext>
            </a:extLst>
          </p:cNvPr>
          <p:cNvSpPr/>
          <p:nvPr/>
        </p:nvSpPr>
        <p:spPr>
          <a:xfrm>
            <a:off x="6645480" y="4619918"/>
            <a:ext cx="970706" cy="27104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003" tIns="8001" rIns="8001" bIns="8001" numCol="1" spcCol="1270" anchor="ctr" anchorCtr="0">
            <a:noAutofit/>
          </a:bodyPr>
          <a:lstStyle/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amage Repairs</a:t>
            </a:r>
          </a:p>
        </p:txBody>
      </p:sp>
      <p:sp>
        <p:nvSpPr>
          <p:cNvPr id="15" name="Chevron 4">
            <a:extLst>
              <a:ext uri="{FF2B5EF4-FFF2-40B4-BE49-F238E27FC236}">
                <a16:creationId xmlns:a16="http://schemas.microsoft.com/office/drawing/2014/main" id="{B46CFC91-C642-472C-8794-F73DC6242257}"/>
              </a:ext>
            </a:extLst>
          </p:cNvPr>
          <p:cNvSpPr/>
          <p:nvPr/>
        </p:nvSpPr>
        <p:spPr>
          <a:xfrm>
            <a:off x="7013075" y="3970677"/>
            <a:ext cx="970706" cy="27104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003" tIns="8001" rIns="8001" bIns="8001" numCol="1" spcCol="1270" anchor="ctr" anchorCtr="0">
            <a:noAutofit/>
          </a:bodyPr>
          <a:lstStyle/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yres &amp; Wheels</a:t>
            </a:r>
          </a:p>
        </p:txBody>
      </p:sp>
      <p:sp>
        <p:nvSpPr>
          <p:cNvPr id="16" name="Chevron 10">
            <a:extLst>
              <a:ext uri="{FF2B5EF4-FFF2-40B4-BE49-F238E27FC236}">
                <a16:creationId xmlns:a16="http://schemas.microsoft.com/office/drawing/2014/main" id="{73043ECC-9201-4537-9FBD-B50D40FC9DD4}"/>
              </a:ext>
            </a:extLst>
          </p:cNvPr>
          <p:cNvSpPr/>
          <p:nvPr/>
        </p:nvSpPr>
        <p:spPr>
          <a:xfrm>
            <a:off x="8846747" y="3302369"/>
            <a:ext cx="1864793" cy="37590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003" tIns="8001" rIns="8001" bIns="8001" numCol="1" spcCol="1270" anchor="ctr" anchorCtr="0">
            <a:noAutofit/>
          </a:bodyPr>
          <a:lstStyle/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ftermarket</a:t>
            </a:r>
          </a:p>
        </p:txBody>
      </p:sp>
      <p:sp>
        <p:nvSpPr>
          <p:cNvPr id="17" name="Chevron 10">
            <a:extLst>
              <a:ext uri="{FF2B5EF4-FFF2-40B4-BE49-F238E27FC236}">
                <a16:creationId xmlns:a16="http://schemas.microsoft.com/office/drawing/2014/main" id="{BE00FBC8-551F-4B04-9349-B177D07153EF}"/>
              </a:ext>
            </a:extLst>
          </p:cNvPr>
          <p:cNvSpPr/>
          <p:nvPr/>
        </p:nvSpPr>
        <p:spPr>
          <a:xfrm>
            <a:off x="532928" y="3306208"/>
            <a:ext cx="1696000" cy="24653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003" tIns="8001" rIns="8001" bIns="8001" numCol="1" spcCol="1270" anchor="ctr" anchorCtr="0">
            <a:noAutofit/>
          </a:bodyPr>
          <a:lstStyle/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ervices</a:t>
            </a:r>
          </a:p>
        </p:txBody>
      </p:sp>
      <p:sp>
        <p:nvSpPr>
          <p:cNvPr id="18" name="Chevron 4">
            <a:extLst>
              <a:ext uri="{FF2B5EF4-FFF2-40B4-BE49-F238E27FC236}">
                <a16:creationId xmlns:a16="http://schemas.microsoft.com/office/drawing/2014/main" id="{5F6BC5AF-0931-4299-833D-E94815285D40}"/>
              </a:ext>
            </a:extLst>
          </p:cNvPr>
          <p:cNvSpPr/>
          <p:nvPr/>
        </p:nvSpPr>
        <p:spPr>
          <a:xfrm>
            <a:off x="6300191" y="5149907"/>
            <a:ext cx="970706" cy="27104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003" tIns="8001" rIns="8001" bIns="8001" numCol="1" spcCol="1270" anchor="ctr" anchorCtr="0">
            <a:noAutofit/>
          </a:bodyPr>
          <a:lstStyle/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Glass Repairs</a:t>
            </a:r>
          </a:p>
        </p:txBody>
      </p:sp>
      <p:sp>
        <p:nvSpPr>
          <p:cNvPr id="19" name="Chevron 4">
            <a:extLst>
              <a:ext uri="{FF2B5EF4-FFF2-40B4-BE49-F238E27FC236}">
                <a16:creationId xmlns:a16="http://schemas.microsoft.com/office/drawing/2014/main" id="{502BE39A-A093-4738-9F58-4687CB39EA1D}"/>
              </a:ext>
            </a:extLst>
          </p:cNvPr>
          <p:cNvSpPr/>
          <p:nvPr/>
        </p:nvSpPr>
        <p:spPr>
          <a:xfrm>
            <a:off x="4268412" y="5106752"/>
            <a:ext cx="970706" cy="27104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003" tIns="8001" rIns="8001" bIns="8001" numCol="1" spcCol="1270" anchor="ctr" anchorCtr="0">
            <a:noAutofit/>
          </a:bodyPr>
          <a:lstStyle/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ease</a:t>
            </a:r>
          </a:p>
        </p:txBody>
      </p:sp>
      <p:sp>
        <p:nvSpPr>
          <p:cNvPr id="20" name="Chevron 4">
            <a:extLst>
              <a:ext uri="{FF2B5EF4-FFF2-40B4-BE49-F238E27FC236}">
                <a16:creationId xmlns:a16="http://schemas.microsoft.com/office/drawing/2014/main" id="{47A1CBE9-0ED2-4555-A0D2-2EC69797F63A}"/>
              </a:ext>
            </a:extLst>
          </p:cNvPr>
          <p:cNvSpPr/>
          <p:nvPr/>
        </p:nvSpPr>
        <p:spPr>
          <a:xfrm>
            <a:off x="3826479" y="4626122"/>
            <a:ext cx="970706" cy="27104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003" tIns="8001" rIns="8001" bIns="8001" numCol="1" spcCol="1270" anchor="ctr" anchorCtr="0">
            <a:noAutofit/>
          </a:bodyPr>
          <a:lstStyle/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ental</a:t>
            </a:r>
          </a:p>
        </p:txBody>
      </p:sp>
      <p:sp>
        <p:nvSpPr>
          <p:cNvPr id="21" name="Chevron 4">
            <a:extLst>
              <a:ext uri="{FF2B5EF4-FFF2-40B4-BE49-F238E27FC236}">
                <a16:creationId xmlns:a16="http://schemas.microsoft.com/office/drawing/2014/main" id="{1B73C5F0-8D92-44D9-96EC-F472D712C797}"/>
              </a:ext>
            </a:extLst>
          </p:cNvPr>
          <p:cNvSpPr/>
          <p:nvPr/>
        </p:nvSpPr>
        <p:spPr>
          <a:xfrm>
            <a:off x="2455201" y="2634082"/>
            <a:ext cx="970706" cy="27104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003" tIns="8001" rIns="8001" bIns="8001" numCol="1" spcCol="1270" anchor="ctr" anchorCtr="0">
            <a:noAutofit/>
          </a:bodyPr>
          <a:lstStyle/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surance</a:t>
            </a:r>
          </a:p>
        </p:txBody>
      </p:sp>
      <p:sp>
        <p:nvSpPr>
          <p:cNvPr id="22" name="Chevron 4">
            <a:extLst>
              <a:ext uri="{FF2B5EF4-FFF2-40B4-BE49-F238E27FC236}">
                <a16:creationId xmlns:a16="http://schemas.microsoft.com/office/drawing/2014/main" id="{16C71A0B-5770-4D1C-8096-D093D7FC57A9}"/>
              </a:ext>
            </a:extLst>
          </p:cNvPr>
          <p:cNvSpPr/>
          <p:nvPr/>
        </p:nvSpPr>
        <p:spPr>
          <a:xfrm>
            <a:off x="2825756" y="3269876"/>
            <a:ext cx="970706" cy="27104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003" tIns="8001" rIns="8001" bIns="8001" numCol="1" spcCol="1270" anchor="ctr" anchorCtr="0">
            <a:noAutofit/>
          </a:bodyPr>
          <a:lstStyle/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leet Services</a:t>
            </a:r>
          </a:p>
        </p:txBody>
      </p:sp>
      <p:sp>
        <p:nvSpPr>
          <p:cNvPr id="23" name="Chevron 4">
            <a:extLst>
              <a:ext uri="{FF2B5EF4-FFF2-40B4-BE49-F238E27FC236}">
                <a16:creationId xmlns:a16="http://schemas.microsoft.com/office/drawing/2014/main" id="{3093527D-F282-445A-B4BE-C19EF2EFF483}"/>
              </a:ext>
            </a:extLst>
          </p:cNvPr>
          <p:cNvSpPr/>
          <p:nvPr/>
        </p:nvSpPr>
        <p:spPr>
          <a:xfrm>
            <a:off x="7967653" y="2562061"/>
            <a:ext cx="1417424" cy="38408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003" tIns="8001" rIns="8001" bIns="8001" numCol="1" spcCol="1270" anchor="ctr" anchorCtr="0">
            <a:noAutofit/>
          </a:bodyPr>
          <a:lstStyle/>
          <a:p>
            <a:pPr marL="0" marR="0" lvl="0" indent="0" algn="l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arts – Wholesaler, Supplier, Dealers</a:t>
            </a:r>
          </a:p>
        </p:txBody>
      </p:sp>
      <p:sp>
        <p:nvSpPr>
          <p:cNvPr id="24" name="Chevron 4">
            <a:extLst>
              <a:ext uri="{FF2B5EF4-FFF2-40B4-BE49-F238E27FC236}">
                <a16:creationId xmlns:a16="http://schemas.microsoft.com/office/drawing/2014/main" id="{5DBD6D83-5229-4EF6-BCCD-7E007E0FD1F6}"/>
              </a:ext>
            </a:extLst>
          </p:cNvPr>
          <p:cNvSpPr/>
          <p:nvPr/>
        </p:nvSpPr>
        <p:spPr>
          <a:xfrm>
            <a:off x="5990465" y="1375074"/>
            <a:ext cx="970706" cy="27104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003" tIns="8001" rIns="8001" bIns="8001" numCol="1" spcCol="1270" anchor="ctr" anchorCtr="0">
            <a:noAutofit/>
          </a:bodyPr>
          <a:lstStyle/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ealer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B53E655-0521-4701-96E7-CC9EC8C99569}"/>
              </a:ext>
            </a:extLst>
          </p:cNvPr>
          <p:cNvGrpSpPr/>
          <p:nvPr/>
        </p:nvGrpSpPr>
        <p:grpSpPr>
          <a:xfrm>
            <a:off x="3345908" y="2554589"/>
            <a:ext cx="354994" cy="349149"/>
            <a:chOff x="3372699" y="2684447"/>
            <a:chExt cx="384388" cy="343872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7D2582A1-AA93-4200-A2D7-1DAACE5F71A0}"/>
                </a:ext>
              </a:extLst>
            </p:cNvPr>
            <p:cNvSpPr/>
            <p:nvPr/>
          </p:nvSpPr>
          <p:spPr>
            <a:xfrm>
              <a:off x="3372699" y="2684447"/>
              <a:ext cx="384388" cy="343872"/>
            </a:xfrm>
            <a:prstGeom prst="ellipse">
              <a:avLst/>
            </a:prstGeom>
            <a:solidFill>
              <a:srgbClr val="45AEAE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686DF3A4-5AE7-4A80-84F7-1DBA3EFDD1B9}"/>
                </a:ext>
              </a:extLst>
            </p:cNvPr>
            <p:cNvSpPr/>
            <p:nvPr/>
          </p:nvSpPr>
          <p:spPr>
            <a:xfrm>
              <a:off x="3421101" y="2696022"/>
              <a:ext cx="242013" cy="196616"/>
            </a:xfrm>
            <a:prstGeom prst="ellipse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chemeClr val="bg1">
                    <a:alpha val="30000"/>
                  </a:schemeClr>
                </a:gs>
              </a:gsLst>
              <a:lin ang="5400000" scaled="1"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D2055E2-A379-4F21-B889-C9311588840C}"/>
              </a:ext>
            </a:extLst>
          </p:cNvPr>
          <p:cNvGrpSpPr/>
          <p:nvPr/>
        </p:nvGrpSpPr>
        <p:grpSpPr>
          <a:xfrm>
            <a:off x="3729521" y="1613596"/>
            <a:ext cx="354994" cy="349149"/>
            <a:chOff x="4167111" y="1757673"/>
            <a:chExt cx="384388" cy="343872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19592D48-17E1-4C9E-8B87-DA08776106BA}"/>
                </a:ext>
              </a:extLst>
            </p:cNvPr>
            <p:cNvSpPr/>
            <p:nvPr/>
          </p:nvSpPr>
          <p:spPr>
            <a:xfrm>
              <a:off x="4167111" y="1757673"/>
              <a:ext cx="384388" cy="343872"/>
            </a:xfrm>
            <a:prstGeom prst="ellipse">
              <a:avLst/>
            </a:prstGeom>
            <a:solidFill>
              <a:srgbClr val="E23A59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01D4EA0D-4DCA-4BDF-8575-C5D34661D025}"/>
                </a:ext>
              </a:extLst>
            </p:cNvPr>
            <p:cNvSpPr/>
            <p:nvPr/>
          </p:nvSpPr>
          <p:spPr>
            <a:xfrm>
              <a:off x="4215513" y="1769249"/>
              <a:ext cx="242013" cy="196616"/>
            </a:xfrm>
            <a:prstGeom prst="ellipse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chemeClr val="bg1">
                    <a:alpha val="30000"/>
                  </a:schemeClr>
                </a:gs>
              </a:gsLst>
              <a:lin ang="5400000" scaled="1"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C7F55DF-F0A9-40C5-B30A-3F7ABB6F69CC}"/>
              </a:ext>
            </a:extLst>
          </p:cNvPr>
          <p:cNvGrpSpPr/>
          <p:nvPr/>
        </p:nvGrpSpPr>
        <p:grpSpPr>
          <a:xfrm>
            <a:off x="4587034" y="1613596"/>
            <a:ext cx="354994" cy="349149"/>
            <a:chOff x="5123630" y="1757673"/>
            <a:chExt cx="384388" cy="343872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EE55D007-54D9-40D2-AAAA-53B5031D5517}"/>
                </a:ext>
              </a:extLst>
            </p:cNvPr>
            <p:cNvSpPr/>
            <p:nvPr/>
          </p:nvSpPr>
          <p:spPr>
            <a:xfrm>
              <a:off x="5123630" y="1757673"/>
              <a:ext cx="384388" cy="343872"/>
            </a:xfrm>
            <a:prstGeom prst="ellipse">
              <a:avLst/>
            </a:prstGeom>
            <a:solidFill>
              <a:srgbClr val="E23A59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965813F5-D5B2-494B-9FB5-861019F83784}"/>
                </a:ext>
              </a:extLst>
            </p:cNvPr>
            <p:cNvSpPr/>
            <p:nvPr/>
          </p:nvSpPr>
          <p:spPr>
            <a:xfrm>
              <a:off x="5172032" y="1769249"/>
              <a:ext cx="242013" cy="196616"/>
            </a:xfrm>
            <a:prstGeom prst="ellipse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chemeClr val="bg1">
                    <a:alpha val="30000"/>
                  </a:schemeClr>
                </a:gs>
              </a:gsLst>
              <a:lin ang="5400000" scaled="1"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C228865-5DFA-4655-AE4D-0785CBEC9276}"/>
              </a:ext>
            </a:extLst>
          </p:cNvPr>
          <p:cNvGrpSpPr/>
          <p:nvPr/>
        </p:nvGrpSpPr>
        <p:grpSpPr>
          <a:xfrm>
            <a:off x="5444546" y="1613596"/>
            <a:ext cx="354994" cy="349149"/>
            <a:chOff x="6080151" y="1757673"/>
            <a:chExt cx="384388" cy="343872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C7546E5B-7C3F-4689-9B6A-1A9B9F6414B6}"/>
                </a:ext>
              </a:extLst>
            </p:cNvPr>
            <p:cNvSpPr/>
            <p:nvPr/>
          </p:nvSpPr>
          <p:spPr>
            <a:xfrm>
              <a:off x="6080151" y="1757673"/>
              <a:ext cx="384388" cy="343872"/>
            </a:xfrm>
            <a:prstGeom prst="ellipse">
              <a:avLst/>
            </a:prstGeom>
            <a:solidFill>
              <a:srgbClr val="E23A59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B834C93-702B-4D20-B936-9FF9A9E8E48B}"/>
                </a:ext>
              </a:extLst>
            </p:cNvPr>
            <p:cNvSpPr/>
            <p:nvPr/>
          </p:nvSpPr>
          <p:spPr>
            <a:xfrm>
              <a:off x="6128553" y="1769249"/>
              <a:ext cx="242013" cy="196616"/>
            </a:xfrm>
            <a:prstGeom prst="ellipse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chemeClr val="bg1">
                    <a:alpha val="30000"/>
                  </a:schemeClr>
                </a:gs>
              </a:gsLst>
              <a:lin ang="5400000" scaled="1"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308C772-E3D6-4369-AF30-5685029B8F41}"/>
              </a:ext>
            </a:extLst>
          </p:cNvPr>
          <p:cNvGrpSpPr/>
          <p:nvPr/>
        </p:nvGrpSpPr>
        <p:grpSpPr>
          <a:xfrm>
            <a:off x="6302058" y="1613596"/>
            <a:ext cx="354994" cy="349149"/>
            <a:chOff x="7036672" y="1757673"/>
            <a:chExt cx="384388" cy="343872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5C3FE953-BB47-4BF2-AB92-61A7837A474F}"/>
                </a:ext>
              </a:extLst>
            </p:cNvPr>
            <p:cNvSpPr/>
            <p:nvPr/>
          </p:nvSpPr>
          <p:spPr>
            <a:xfrm>
              <a:off x="7036672" y="1757673"/>
              <a:ext cx="384388" cy="343872"/>
            </a:xfrm>
            <a:prstGeom prst="ellipse">
              <a:avLst/>
            </a:prstGeom>
            <a:solidFill>
              <a:srgbClr val="E23A59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3069355A-4FC0-458D-8934-BFD104233014}"/>
                </a:ext>
              </a:extLst>
            </p:cNvPr>
            <p:cNvSpPr/>
            <p:nvPr/>
          </p:nvSpPr>
          <p:spPr>
            <a:xfrm>
              <a:off x="7085074" y="1769249"/>
              <a:ext cx="242013" cy="196616"/>
            </a:xfrm>
            <a:prstGeom prst="ellipse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chemeClr val="bg1">
                    <a:alpha val="30000"/>
                  </a:schemeClr>
                </a:gs>
              </a:gsLst>
              <a:lin ang="5400000" scaled="1"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EBC8C24-35E4-4CE9-B73A-7703CA828DC8}"/>
              </a:ext>
            </a:extLst>
          </p:cNvPr>
          <p:cNvGrpSpPr/>
          <p:nvPr/>
        </p:nvGrpSpPr>
        <p:grpSpPr>
          <a:xfrm>
            <a:off x="7570292" y="2554589"/>
            <a:ext cx="354994" cy="349149"/>
            <a:chOff x="7946857" y="2706563"/>
            <a:chExt cx="384388" cy="343872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3E6FE1E3-EFDE-49B2-AD52-C7FBEBAB4498}"/>
                </a:ext>
              </a:extLst>
            </p:cNvPr>
            <p:cNvSpPr/>
            <p:nvPr/>
          </p:nvSpPr>
          <p:spPr>
            <a:xfrm>
              <a:off x="7946857" y="2706563"/>
              <a:ext cx="384388" cy="343872"/>
            </a:xfrm>
            <a:prstGeom prst="ellipse">
              <a:avLst/>
            </a:prstGeom>
            <a:solidFill>
              <a:srgbClr val="3F7E9A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9A3BD8D9-092D-4796-8D45-FCB8A31BCAC6}"/>
                </a:ext>
              </a:extLst>
            </p:cNvPr>
            <p:cNvSpPr/>
            <p:nvPr/>
          </p:nvSpPr>
          <p:spPr>
            <a:xfrm>
              <a:off x="7995258" y="2718138"/>
              <a:ext cx="242013" cy="196616"/>
            </a:xfrm>
            <a:prstGeom prst="ellipse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chemeClr val="bg1">
                    <a:alpha val="30000"/>
                  </a:schemeClr>
                </a:gs>
              </a:gsLst>
              <a:lin ang="5400000" scaled="1"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B3D02C4-A35A-44F5-A3DA-C037B36E1378}"/>
              </a:ext>
            </a:extLst>
          </p:cNvPr>
          <p:cNvGrpSpPr/>
          <p:nvPr/>
        </p:nvGrpSpPr>
        <p:grpSpPr>
          <a:xfrm>
            <a:off x="7141979" y="3227152"/>
            <a:ext cx="354994" cy="349149"/>
            <a:chOff x="7483080" y="3346846"/>
            <a:chExt cx="384388" cy="343872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6C69F271-0779-414D-82EA-4FCD46EB8E4C}"/>
                </a:ext>
              </a:extLst>
            </p:cNvPr>
            <p:cNvSpPr/>
            <p:nvPr/>
          </p:nvSpPr>
          <p:spPr>
            <a:xfrm>
              <a:off x="7483080" y="3346846"/>
              <a:ext cx="384388" cy="343872"/>
            </a:xfrm>
            <a:prstGeom prst="ellipse">
              <a:avLst/>
            </a:prstGeom>
            <a:solidFill>
              <a:srgbClr val="3F7E9A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F756D56-5598-479B-9933-EC18995535E9}"/>
                </a:ext>
              </a:extLst>
            </p:cNvPr>
            <p:cNvSpPr/>
            <p:nvPr/>
          </p:nvSpPr>
          <p:spPr>
            <a:xfrm>
              <a:off x="7531482" y="3358421"/>
              <a:ext cx="242013" cy="196616"/>
            </a:xfrm>
            <a:prstGeom prst="ellipse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chemeClr val="bg1">
                    <a:alpha val="30000"/>
                  </a:schemeClr>
                </a:gs>
              </a:gsLst>
              <a:lin ang="5400000" scaled="1"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454395F-3919-4292-94EA-6065ECC57351}"/>
              </a:ext>
            </a:extLst>
          </p:cNvPr>
          <p:cNvGrpSpPr/>
          <p:nvPr/>
        </p:nvGrpSpPr>
        <p:grpSpPr>
          <a:xfrm>
            <a:off x="6692949" y="3877641"/>
            <a:ext cx="354994" cy="349149"/>
            <a:chOff x="6996871" y="3987506"/>
            <a:chExt cx="384388" cy="343872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1295ACB2-D8D2-4791-8253-40A076B9E71B}"/>
                </a:ext>
              </a:extLst>
            </p:cNvPr>
            <p:cNvSpPr/>
            <p:nvPr/>
          </p:nvSpPr>
          <p:spPr>
            <a:xfrm>
              <a:off x="6996871" y="3987506"/>
              <a:ext cx="384388" cy="343872"/>
            </a:xfrm>
            <a:prstGeom prst="ellipse">
              <a:avLst/>
            </a:prstGeom>
            <a:solidFill>
              <a:srgbClr val="3F7E9A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66AFBCD9-99D3-4BFE-9B2A-C9F8D88A85E2}"/>
                </a:ext>
              </a:extLst>
            </p:cNvPr>
            <p:cNvSpPr/>
            <p:nvPr/>
          </p:nvSpPr>
          <p:spPr>
            <a:xfrm>
              <a:off x="7045273" y="3999082"/>
              <a:ext cx="242013" cy="196616"/>
            </a:xfrm>
            <a:prstGeom prst="ellipse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chemeClr val="bg1">
                    <a:alpha val="30000"/>
                  </a:schemeClr>
                </a:gs>
              </a:gsLst>
              <a:lin ang="5400000" scaled="1"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F0A3F138-498E-4CEF-87A0-4583E3AA8517}"/>
              </a:ext>
            </a:extLst>
          </p:cNvPr>
          <p:cNvGrpSpPr/>
          <p:nvPr/>
        </p:nvGrpSpPr>
        <p:grpSpPr>
          <a:xfrm>
            <a:off x="6283326" y="4529721"/>
            <a:ext cx="354994" cy="349149"/>
            <a:chOff x="6553331" y="4629731"/>
            <a:chExt cx="384388" cy="343872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77F99D07-F4D1-4A1E-BD0A-C9E79B054ACD}"/>
                </a:ext>
              </a:extLst>
            </p:cNvPr>
            <p:cNvSpPr/>
            <p:nvPr/>
          </p:nvSpPr>
          <p:spPr>
            <a:xfrm>
              <a:off x="6553331" y="4629731"/>
              <a:ext cx="384388" cy="343872"/>
            </a:xfrm>
            <a:prstGeom prst="ellipse">
              <a:avLst/>
            </a:prstGeom>
            <a:solidFill>
              <a:srgbClr val="3F7E9A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FF1B8B90-DC6D-46F6-B6A2-034E0855EBE8}"/>
                </a:ext>
              </a:extLst>
            </p:cNvPr>
            <p:cNvSpPr/>
            <p:nvPr/>
          </p:nvSpPr>
          <p:spPr>
            <a:xfrm>
              <a:off x="6601733" y="4641306"/>
              <a:ext cx="242013" cy="196616"/>
            </a:xfrm>
            <a:prstGeom prst="ellipse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chemeClr val="bg1">
                    <a:alpha val="30000"/>
                  </a:schemeClr>
                </a:gs>
              </a:gsLst>
              <a:lin ang="5400000" scaled="1"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CAAE947-422F-452F-8D96-79DD95B3F787}"/>
              </a:ext>
            </a:extLst>
          </p:cNvPr>
          <p:cNvGrpSpPr/>
          <p:nvPr/>
        </p:nvGrpSpPr>
        <p:grpSpPr>
          <a:xfrm>
            <a:off x="5907094" y="5074512"/>
            <a:ext cx="354994" cy="349149"/>
            <a:chOff x="6145949" y="5166290"/>
            <a:chExt cx="384388" cy="343872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8C76ED13-298F-43C1-A9CC-CA97971656E6}"/>
                </a:ext>
              </a:extLst>
            </p:cNvPr>
            <p:cNvSpPr/>
            <p:nvPr/>
          </p:nvSpPr>
          <p:spPr>
            <a:xfrm>
              <a:off x="6145949" y="5166290"/>
              <a:ext cx="384388" cy="343872"/>
            </a:xfrm>
            <a:prstGeom prst="ellipse">
              <a:avLst/>
            </a:prstGeom>
            <a:solidFill>
              <a:srgbClr val="3F7E9A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EB41E2E0-8571-48AD-8F9C-A5B9CE3E33D9}"/>
                </a:ext>
              </a:extLst>
            </p:cNvPr>
            <p:cNvSpPr/>
            <p:nvPr/>
          </p:nvSpPr>
          <p:spPr>
            <a:xfrm>
              <a:off x="6194351" y="5177865"/>
              <a:ext cx="242013" cy="196616"/>
            </a:xfrm>
            <a:prstGeom prst="ellipse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chemeClr val="bg1">
                    <a:alpha val="30000"/>
                  </a:schemeClr>
                </a:gs>
              </a:gsLst>
              <a:lin ang="5400000" scaled="1"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429DE76-75AB-44E2-8EF7-8B4D8F2319E5}"/>
              </a:ext>
            </a:extLst>
          </p:cNvPr>
          <p:cNvGrpSpPr/>
          <p:nvPr/>
        </p:nvGrpSpPr>
        <p:grpSpPr>
          <a:xfrm>
            <a:off x="4161108" y="3877643"/>
            <a:ext cx="354994" cy="349149"/>
            <a:chOff x="3935304" y="3482118"/>
            <a:chExt cx="384388" cy="343872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C9E49AAB-C296-4539-B627-121D6627B571}"/>
                </a:ext>
              </a:extLst>
            </p:cNvPr>
            <p:cNvSpPr/>
            <p:nvPr/>
          </p:nvSpPr>
          <p:spPr>
            <a:xfrm>
              <a:off x="3935304" y="3482118"/>
              <a:ext cx="384388" cy="343872"/>
            </a:xfrm>
            <a:prstGeom prst="ellipse">
              <a:avLst/>
            </a:prstGeom>
            <a:solidFill>
              <a:srgbClr val="45AEAE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A4E2FECA-7686-46D1-9971-BF2B552AF6B0}"/>
                </a:ext>
              </a:extLst>
            </p:cNvPr>
            <p:cNvSpPr/>
            <p:nvPr/>
          </p:nvSpPr>
          <p:spPr>
            <a:xfrm>
              <a:off x="3983706" y="3493693"/>
              <a:ext cx="242013" cy="196616"/>
            </a:xfrm>
            <a:prstGeom prst="ellipse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chemeClr val="bg1">
                    <a:alpha val="30000"/>
                  </a:schemeClr>
                </a:gs>
              </a:gsLst>
              <a:lin ang="5400000" scaled="1"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0B71C85-9A84-4082-A876-FC2797FF951B}"/>
              </a:ext>
            </a:extLst>
          </p:cNvPr>
          <p:cNvGrpSpPr/>
          <p:nvPr/>
        </p:nvGrpSpPr>
        <p:grpSpPr>
          <a:xfrm>
            <a:off x="4614665" y="4529721"/>
            <a:ext cx="354994" cy="349149"/>
            <a:chOff x="4583363" y="4327190"/>
            <a:chExt cx="384388" cy="343872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8690776-301C-4380-8E9F-022D6193CC9F}"/>
                </a:ext>
              </a:extLst>
            </p:cNvPr>
            <p:cNvSpPr/>
            <p:nvPr/>
          </p:nvSpPr>
          <p:spPr>
            <a:xfrm>
              <a:off x="4583363" y="4327190"/>
              <a:ext cx="384388" cy="343872"/>
            </a:xfrm>
            <a:prstGeom prst="ellipse">
              <a:avLst/>
            </a:prstGeom>
            <a:solidFill>
              <a:srgbClr val="45AEAE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075AE766-0BAF-4066-AA03-3EF26878EA19}"/>
                </a:ext>
              </a:extLst>
            </p:cNvPr>
            <p:cNvSpPr/>
            <p:nvPr/>
          </p:nvSpPr>
          <p:spPr>
            <a:xfrm>
              <a:off x="4631765" y="4338765"/>
              <a:ext cx="242013" cy="196616"/>
            </a:xfrm>
            <a:prstGeom prst="ellipse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chemeClr val="bg1">
                    <a:alpha val="30000"/>
                  </a:schemeClr>
                </a:gs>
              </a:gsLst>
              <a:lin ang="5400000" scaled="1"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57EE800-F8A7-4F4E-8B17-40659B029EF5}"/>
              </a:ext>
            </a:extLst>
          </p:cNvPr>
          <p:cNvGrpSpPr/>
          <p:nvPr/>
        </p:nvGrpSpPr>
        <p:grpSpPr>
          <a:xfrm>
            <a:off x="5022083" y="5074512"/>
            <a:ext cx="354994" cy="349149"/>
            <a:chOff x="5187660" y="5144836"/>
            <a:chExt cx="384388" cy="343872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26E0511B-DCE5-4865-BE55-9476A645DB04}"/>
                </a:ext>
              </a:extLst>
            </p:cNvPr>
            <p:cNvSpPr/>
            <p:nvPr/>
          </p:nvSpPr>
          <p:spPr>
            <a:xfrm>
              <a:off x="5187660" y="5144836"/>
              <a:ext cx="384388" cy="343872"/>
            </a:xfrm>
            <a:prstGeom prst="ellipse">
              <a:avLst/>
            </a:prstGeom>
            <a:solidFill>
              <a:srgbClr val="45AEAE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4B7AE2C2-1B15-46B1-B7A1-637EE6D2EBA0}"/>
                </a:ext>
              </a:extLst>
            </p:cNvPr>
            <p:cNvSpPr/>
            <p:nvPr/>
          </p:nvSpPr>
          <p:spPr>
            <a:xfrm>
              <a:off x="5236062" y="5156411"/>
              <a:ext cx="242013" cy="196616"/>
            </a:xfrm>
            <a:prstGeom prst="ellipse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chemeClr val="bg1">
                    <a:alpha val="30000"/>
                  </a:schemeClr>
                </a:gs>
              </a:gsLst>
              <a:lin ang="5400000" scaled="1"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BA4598B-F82C-4096-80BD-584A1AF9CEEA}"/>
              </a:ext>
            </a:extLst>
          </p:cNvPr>
          <p:cNvGrpSpPr/>
          <p:nvPr/>
        </p:nvGrpSpPr>
        <p:grpSpPr>
          <a:xfrm>
            <a:off x="3728300" y="3227149"/>
            <a:ext cx="354994" cy="349149"/>
            <a:chOff x="5187660" y="5144836"/>
            <a:chExt cx="384388" cy="343872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A5A031E3-7B1D-4ABA-95D0-63BB129D262B}"/>
                </a:ext>
              </a:extLst>
            </p:cNvPr>
            <p:cNvSpPr/>
            <p:nvPr/>
          </p:nvSpPr>
          <p:spPr>
            <a:xfrm>
              <a:off x="5187660" y="5144836"/>
              <a:ext cx="384388" cy="343872"/>
            </a:xfrm>
            <a:prstGeom prst="ellipse">
              <a:avLst/>
            </a:prstGeom>
            <a:solidFill>
              <a:srgbClr val="45AEAE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89D8B4EC-C47D-4862-89A9-5CC8E3C94C8E}"/>
                </a:ext>
              </a:extLst>
            </p:cNvPr>
            <p:cNvSpPr/>
            <p:nvPr/>
          </p:nvSpPr>
          <p:spPr>
            <a:xfrm>
              <a:off x="5236062" y="5156411"/>
              <a:ext cx="242013" cy="196616"/>
            </a:xfrm>
            <a:prstGeom prst="ellipse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chemeClr val="bg1">
                    <a:alpha val="30000"/>
                  </a:schemeClr>
                </a:gs>
              </a:gsLst>
              <a:lin ang="5400000" scaled="1"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9" name="Chevron 4">
            <a:extLst>
              <a:ext uri="{FF2B5EF4-FFF2-40B4-BE49-F238E27FC236}">
                <a16:creationId xmlns:a16="http://schemas.microsoft.com/office/drawing/2014/main" id="{B9E0AC87-FF7E-4B5C-A40C-3242BF80D045}"/>
              </a:ext>
            </a:extLst>
          </p:cNvPr>
          <p:cNvSpPr/>
          <p:nvPr/>
        </p:nvSpPr>
        <p:spPr>
          <a:xfrm>
            <a:off x="3179072" y="3963631"/>
            <a:ext cx="970706" cy="27104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003" tIns="8001" rIns="8001" bIns="8001" numCol="1" spcCol="1270" anchor="ctr" anchorCtr="0">
            <a:noAutofit/>
          </a:bodyPr>
          <a:lstStyle/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obility Services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CEE33A87-7EB3-4FA9-B2D9-C2B32AEDCF57}"/>
              </a:ext>
            </a:extLst>
          </p:cNvPr>
          <p:cNvGrpSpPr/>
          <p:nvPr/>
        </p:nvGrpSpPr>
        <p:grpSpPr>
          <a:xfrm>
            <a:off x="7159573" y="1613596"/>
            <a:ext cx="354994" cy="349149"/>
            <a:chOff x="7036672" y="1757673"/>
            <a:chExt cx="384388" cy="343872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30A1702-6F77-4BA0-A639-8029F7111C36}"/>
                </a:ext>
              </a:extLst>
            </p:cNvPr>
            <p:cNvSpPr/>
            <p:nvPr/>
          </p:nvSpPr>
          <p:spPr>
            <a:xfrm>
              <a:off x="7036672" y="1757673"/>
              <a:ext cx="384388" cy="343872"/>
            </a:xfrm>
            <a:prstGeom prst="ellipse">
              <a:avLst/>
            </a:prstGeom>
            <a:solidFill>
              <a:srgbClr val="E23A59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6278851B-FDBF-4425-81CC-4FB152564599}"/>
                </a:ext>
              </a:extLst>
            </p:cNvPr>
            <p:cNvSpPr/>
            <p:nvPr/>
          </p:nvSpPr>
          <p:spPr>
            <a:xfrm>
              <a:off x="7085074" y="1769249"/>
              <a:ext cx="242013" cy="196616"/>
            </a:xfrm>
            <a:prstGeom prst="ellipse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chemeClr val="bg1">
                    <a:alpha val="30000"/>
                  </a:schemeClr>
                </a:gs>
              </a:gsLst>
              <a:lin ang="5400000" scaled="1"/>
            </a:gra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1" name="Chevron 4">
            <a:extLst>
              <a:ext uri="{FF2B5EF4-FFF2-40B4-BE49-F238E27FC236}">
                <a16:creationId xmlns:a16="http://schemas.microsoft.com/office/drawing/2014/main" id="{83BAF429-D863-4EE0-AFE8-13AB3DC8F8F9}"/>
              </a:ext>
            </a:extLst>
          </p:cNvPr>
          <p:cNvSpPr/>
          <p:nvPr/>
        </p:nvSpPr>
        <p:spPr>
          <a:xfrm>
            <a:off x="6794170" y="1375074"/>
            <a:ext cx="1091167" cy="26208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003" tIns="8001" rIns="8001" bIns="8001" numCol="1" spcCol="1270" anchor="ctr" anchorCtr="0">
            <a:noAutofit/>
          </a:bodyPr>
          <a:lstStyle/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emarketing</a:t>
            </a:r>
          </a:p>
        </p:txBody>
      </p:sp>
      <p:sp>
        <p:nvSpPr>
          <p:cNvPr id="74" name="Rectangle 73"/>
          <p:cNvSpPr/>
          <p:nvPr/>
        </p:nvSpPr>
        <p:spPr>
          <a:xfrm>
            <a:off x="9256018" y="3646322"/>
            <a:ext cx="213043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ER AP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NLINE PLANN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ITAL WORK ORD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P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MART KIOS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Y DROP OFF / PICK U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MR PLATFOR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1110521" y="3521069"/>
            <a:ext cx="205722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EET MANAGEMENT SOLU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AD TO ORD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RIVER PORT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ALER QUO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 SHARING PLATFORM</a:t>
            </a:r>
          </a:p>
        </p:txBody>
      </p:sp>
      <p:sp>
        <p:nvSpPr>
          <p:cNvPr id="77" name="Rectangle 76"/>
          <p:cNvSpPr/>
          <p:nvPr/>
        </p:nvSpPr>
        <p:spPr>
          <a:xfrm>
            <a:off x="3293730" y="1038601"/>
            <a:ext cx="186563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 CONFIGURATOR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94E3CFC6-E941-4AF4-9749-13E93578780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1844" y="2913903"/>
            <a:ext cx="2491328" cy="485372"/>
          </a:xfrm>
          <a:prstGeom prst="rect">
            <a:avLst/>
          </a:prstGeom>
        </p:spPr>
      </p:pic>
      <p:sp>
        <p:nvSpPr>
          <p:cNvPr id="79" name="Rectangle 78"/>
          <p:cNvSpPr/>
          <p:nvPr/>
        </p:nvSpPr>
        <p:spPr>
          <a:xfrm>
            <a:off x="4981249" y="1047919"/>
            <a:ext cx="171323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YNAMIC PRICING</a:t>
            </a:r>
          </a:p>
        </p:txBody>
      </p:sp>
      <p:sp>
        <p:nvSpPr>
          <p:cNvPr id="80" name="Rectangle 79"/>
          <p:cNvSpPr/>
          <p:nvPr/>
        </p:nvSpPr>
        <p:spPr>
          <a:xfrm>
            <a:off x="6516367" y="1047919"/>
            <a:ext cx="224663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MARKETING PLATFORM</a:t>
            </a:r>
          </a:p>
        </p:txBody>
      </p:sp>
      <p:sp>
        <p:nvSpPr>
          <p:cNvPr id="81" name="Title 1">
            <a:extLst>
              <a:ext uri="{FF2B5EF4-FFF2-40B4-BE49-F238E27FC236}">
                <a16:creationId xmlns:a16="http://schemas.microsoft.com/office/drawing/2014/main" id="{B338CD22-3C02-4BB7-96DA-F1BD51BDB17A}"/>
              </a:ext>
            </a:extLst>
          </p:cNvPr>
          <p:cNvSpPr txBox="1">
            <a:spLocks/>
          </p:cNvSpPr>
          <p:nvPr/>
        </p:nvSpPr>
        <p:spPr>
          <a:xfrm>
            <a:off x="118656" y="3186"/>
            <a:ext cx="8675720" cy="4506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2800" dirty="0">
                <a:solidFill>
                  <a:schemeClr val="bg1"/>
                </a:solidFill>
              </a:rPr>
              <a:t>AutoFacets – Segment wise Solutions</a:t>
            </a:r>
          </a:p>
        </p:txBody>
      </p:sp>
    </p:spTree>
    <p:extLst>
      <p:ext uri="{BB962C8B-B14F-4D97-AF65-F5344CB8AC3E}">
        <p14:creationId xmlns:p14="http://schemas.microsoft.com/office/powerpoint/2010/main" val="3560694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0AFD7F3-435F-4E48-AD8E-1746A82DECEA}"/>
              </a:ext>
            </a:extLst>
          </p:cNvPr>
          <p:cNvSpPr/>
          <p:nvPr/>
        </p:nvSpPr>
        <p:spPr>
          <a:xfrm>
            <a:off x="0" y="0"/>
            <a:ext cx="4050792" cy="6858000"/>
          </a:xfrm>
          <a:prstGeom prst="rect">
            <a:avLst/>
          </a:prstGeom>
          <a:solidFill>
            <a:srgbClr val="68AAA9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 </a:t>
            </a:r>
            <a:endParaRPr kumimoji="0" lang="da-DK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92CA7838-86BF-4483-863E-837B701480E2}"/>
              </a:ext>
            </a:extLst>
          </p:cNvPr>
          <p:cNvSpPr/>
          <p:nvPr/>
        </p:nvSpPr>
        <p:spPr>
          <a:xfrm>
            <a:off x="745236" y="33051"/>
            <a:ext cx="2560320" cy="548640"/>
          </a:xfrm>
          <a:prstGeom prst="round2Same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olutions Brillianc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9C897FE-6EAD-45A6-8E47-6CF48D17B707}"/>
              </a:ext>
            </a:extLst>
          </p:cNvPr>
          <p:cNvSpPr/>
          <p:nvPr/>
        </p:nvSpPr>
        <p:spPr>
          <a:xfrm>
            <a:off x="216347" y="5751999"/>
            <a:ext cx="357345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upporting Automotive Customers Successfull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AD6748E-5FEE-4B32-9E0D-94F10C8B7880}"/>
              </a:ext>
            </a:extLst>
          </p:cNvPr>
          <p:cNvSpPr/>
          <p:nvPr/>
        </p:nvSpPr>
        <p:spPr>
          <a:xfrm>
            <a:off x="216347" y="713684"/>
            <a:ext cx="348581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uilt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200+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olutions for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50+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ustome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3273474-F6D1-4A1F-9B6A-404187C05B69}"/>
              </a:ext>
            </a:extLst>
          </p:cNvPr>
          <p:cNvSpPr/>
          <p:nvPr/>
        </p:nvSpPr>
        <p:spPr>
          <a:xfrm>
            <a:off x="4054079" y="0"/>
            <a:ext cx="4050792" cy="6858000"/>
          </a:xfrm>
          <a:prstGeom prst="rect">
            <a:avLst/>
          </a:prstGeom>
          <a:solidFill>
            <a:srgbClr val="4D6B8D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010612F-E985-4C53-BE03-81DCD57E07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7995" y="1464599"/>
            <a:ext cx="3976885" cy="3017520"/>
          </a:xfrm>
          <a:prstGeom prst="rect">
            <a:avLst/>
          </a:prstGeom>
        </p:spPr>
      </p:pic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6AB579DB-0322-43E1-86D5-3A9289357E1C}"/>
              </a:ext>
            </a:extLst>
          </p:cNvPr>
          <p:cNvSpPr/>
          <p:nvPr/>
        </p:nvSpPr>
        <p:spPr>
          <a:xfrm>
            <a:off x="4815840" y="33051"/>
            <a:ext cx="2560320" cy="548640"/>
          </a:xfrm>
          <a:prstGeom prst="round2Same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Technology Excellenc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B5C1BB0-87D1-459D-92B2-020E3D1F1E86}"/>
              </a:ext>
            </a:extLst>
          </p:cNvPr>
          <p:cNvSpPr/>
          <p:nvPr/>
        </p:nvSpPr>
        <p:spPr>
          <a:xfrm>
            <a:off x="4099010" y="713684"/>
            <a:ext cx="3987373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300+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utomotive Engineers deployed to develop modern technology software's for Digital Dealer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grpSp>
        <p:nvGrpSpPr>
          <p:cNvPr id="382" name="Group 381">
            <a:extLst>
              <a:ext uri="{FF2B5EF4-FFF2-40B4-BE49-F238E27FC236}">
                <a16:creationId xmlns:a16="http://schemas.microsoft.com/office/drawing/2014/main" id="{53EA2292-0BD1-446A-91D9-793CCDC8C9AC}"/>
              </a:ext>
            </a:extLst>
          </p:cNvPr>
          <p:cNvGrpSpPr/>
          <p:nvPr/>
        </p:nvGrpSpPr>
        <p:grpSpPr>
          <a:xfrm>
            <a:off x="4496135" y="4380122"/>
            <a:ext cx="3155716" cy="2307607"/>
            <a:chOff x="4496135" y="4452314"/>
            <a:chExt cx="3155716" cy="2307607"/>
          </a:xfrm>
        </p:grpSpPr>
        <p:pic>
          <p:nvPicPr>
            <p:cNvPr id="374" name="Picture 373">
              <a:extLst>
                <a:ext uri="{FF2B5EF4-FFF2-40B4-BE49-F238E27FC236}">
                  <a16:creationId xmlns:a16="http://schemas.microsoft.com/office/drawing/2014/main" id="{B7A468CC-4B6C-414A-9153-498B88320EC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96135" y="4452314"/>
              <a:ext cx="3080290" cy="2011680"/>
            </a:xfrm>
            <a:prstGeom prst="rect">
              <a:avLst/>
            </a:prstGeom>
          </p:spPr>
        </p:pic>
        <p:sp>
          <p:nvSpPr>
            <p:cNvPr id="376" name="Rectangle 375">
              <a:extLst>
                <a:ext uri="{FF2B5EF4-FFF2-40B4-BE49-F238E27FC236}">
                  <a16:creationId xmlns:a16="http://schemas.microsoft.com/office/drawing/2014/main" id="{45506321-9279-4461-8655-4D96C5D65606}"/>
                </a:ext>
              </a:extLst>
            </p:cNvPr>
            <p:cNvSpPr/>
            <p:nvPr/>
          </p:nvSpPr>
          <p:spPr>
            <a:xfrm>
              <a:off x="5011453" y="4978060"/>
              <a:ext cx="97654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Big Data</a:t>
              </a:r>
            </a:p>
          </p:txBody>
        </p:sp>
        <p:sp>
          <p:nvSpPr>
            <p:cNvPr id="377" name="Rectangle 376">
              <a:extLst>
                <a:ext uri="{FF2B5EF4-FFF2-40B4-BE49-F238E27FC236}">
                  <a16:creationId xmlns:a16="http://schemas.microsoft.com/office/drawing/2014/main" id="{D158B531-EFC6-4AA7-B36E-D6455AAF77C2}"/>
                </a:ext>
              </a:extLst>
            </p:cNvPr>
            <p:cNvSpPr/>
            <p:nvPr/>
          </p:nvSpPr>
          <p:spPr>
            <a:xfrm>
              <a:off x="6310964" y="4987316"/>
              <a:ext cx="47961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IoT</a:t>
              </a:r>
            </a:p>
          </p:txBody>
        </p:sp>
        <p:sp>
          <p:nvSpPr>
            <p:cNvPr id="378" name="Rectangle 377">
              <a:extLst>
                <a:ext uri="{FF2B5EF4-FFF2-40B4-BE49-F238E27FC236}">
                  <a16:creationId xmlns:a16="http://schemas.microsoft.com/office/drawing/2014/main" id="{FAC23DBE-C1C8-4B0C-83FF-77ACD05F1736}"/>
                </a:ext>
              </a:extLst>
            </p:cNvPr>
            <p:cNvSpPr/>
            <p:nvPr/>
          </p:nvSpPr>
          <p:spPr>
            <a:xfrm>
              <a:off x="4832008" y="5838230"/>
              <a:ext cx="381836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AI</a:t>
              </a:r>
            </a:p>
          </p:txBody>
        </p:sp>
        <p:sp>
          <p:nvSpPr>
            <p:cNvPr id="379" name="Rectangle 378">
              <a:extLst>
                <a:ext uri="{FF2B5EF4-FFF2-40B4-BE49-F238E27FC236}">
                  <a16:creationId xmlns:a16="http://schemas.microsoft.com/office/drawing/2014/main" id="{4CA1F316-AC9E-461E-8EE4-2AB811EE1B0E}"/>
                </a:ext>
              </a:extLst>
            </p:cNvPr>
            <p:cNvSpPr/>
            <p:nvPr/>
          </p:nvSpPr>
          <p:spPr>
            <a:xfrm>
              <a:off x="5798875" y="5838230"/>
              <a:ext cx="474810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ML</a:t>
              </a:r>
            </a:p>
          </p:txBody>
        </p:sp>
        <p:sp>
          <p:nvSpPr>
            <p:cNvPr id="380" name="Rectangle 379">
              <a:extLst>
                <a:ext uri="{FF2B5EF4-FFF2-40B4-BE49-F238E27FC236}">
                  <a16:creationId xmlns:a16="http://schemas.microsoft.com/office/drawing/2014/main" id="{D0006264-45FB-498A-AA5C-7C070F87398D}"/>
                </a:ext>
              </a:extLst>
            </p:cNvPr>
            <p:cNvSpPr/>
            <p:nvPr/>
          </p:nvSpPr>
          <p:spPr>
            <a:xfrm>
              <a:off x="6595088" y="5853619"/>
              <a:ext cx="105676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Blockchain</a:t>
              </a:r>
            </a:p>
          </p:txBody>
        </p:sp>
        <p:pic>
          <p:nvPicPr>
            <p:cNvPr id="1026" name="Picture 2" descr="Image result for big data png icon">
              <a:extLst>
                <a:ext uri="{FF2B5EF4-FFF2-40B4-BE49-F238E27FC236}">
                  <a16:creationId xmlns:a16="http://schemas.microsoft.com/office/drawing/2014/main" id="{EBFA41F0-FA9B-41CE-9457-901F620E0D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42022" y="4551951"/>
              <a:ext cx="365760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Image result for iot png icon">
              <a:extLst>
                <a:ext uri="{FF2B5EF4-FFF2-40B4-BE49-F238E27FC236}">
                  <a16:creationId xmlns:a16="http://schemas.microsoft.com/office/drawing/2014/main" id="{2314CCF5-66A6-4232-A396-7CFD5DE0AF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75380" y="4557068"/>
              <a:ext cx="366476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Image result for ai png icon">
              <a:extLst>
                <a:ext uri="{FF2B5EF4-FFF2-40B4-BE49-F238E27FC236}">
                  <a16:creationId xmlns:a16="http://schemas.microsoft.com/office/drawing/2014/main" id="{C19CB4F5-2B88-4F8E-9278-BAC12029FB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65058" y="5454349"/>
              <a:ext cx="365760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Image result for ml png icon">
              <a:extLst>
                <a:ext uri="{FF2B5EF4-FFF2-40B4-BE49-F238E27FC236}">
                  <a16:creationId xmlns:a16="http://schemas.microsoft.com/office/drawing/2014/main" id="{E1720866-E733-40CE-9D0A-275A0430B8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8427" y="5477782"/>
              <a:ext cx="365760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4" name="Picture 10" descr="Image result for blockchain png icon">
              <a:extLst>
                <a:ext uri="{FF2B5EF4-FFF2-40B4-BE49-F238E27FC236}">
                  <a16:creationId xmlns:a16="http://schemas.microsoft.com/office/drawing/2014/main" id="{A5CE61EF-22B7-4347-BFF0-78C5733BF0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7722" y="5460945"/>
              <a:ext cx="365760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7" name="Rectangle 386">
              <a:extLst>
                <a:ext uri="{FF2B5EF4-FFF2-40B4-BE49-F238E27FC236}">
                  <a16:creationId xmlns:a16="http://schemas.microsoft.com/office/drawing/2014/main" id="{A7F3A081-48D4-49B0-9696-38371070CF11}"/>
                </a:ext>
              </a:extLst>
            </p:cNvPr>
            <p:cNvSpPr/>
            <p:nvPr/>
          </p:nvSpPr>
          <p:spPr>
            <a:xfrm>
              <a:off x="4836118" y="6359811"/>
              <a:ext cx="2459194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100+ Technologies</a:t>
              </a:r>
            </a:p>
          </p:txBody>
        </p:sp>
      </p:grpSp>
      <p:sp>
        <p:nvSpPr>
          <p:cNvPr id="383" name="Rectangle 382">
            <a:extLst>
              <a:ext uri="{FF2B5EF4-FFF2-40B4-BE49-F238E27FC236}">
                <a16:creationId xmlns:a16="http://schemas.microsoft.com/office/drawing/2014/main" id="{635CAB37-A80C-4B8F-B5BF-28ECA87C6FD5}"/>
              </a:ext>
            </a:extLst>
          </p:cNvPr>
          <p:cNvSpPr/>
          <p:nvPr/>
        </p:nvSpPr>
        <p:spPr>
          <a:xfrm>
            <a:off x="4026630" y="3422854"/>
            <a:ext cx="430887" cy="3114379"/>
          </a:xfrm>
          <a:prstGeom prst="rect">
            <a:avLst/>
          </a:prstGeom>
        </p:spPr>
        <p:txBody>
          <a:bodyPr vert="vert270"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upporting Modern Technologi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AD6D28-A039-46CE-A27F-B5B99D28523E}"/>
              </a:ext>
            </a:extLst>
          </p:cNvPr>
          <p:cNvSpPr/>
          <p:nvPr/>
        </p:nvSpPr>
        <p:spPr>
          <a:xfrm>
            <a:off x="8108156" y="0"/>
            <a:ext cx="4083843" cy="685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7452D27F-DF1C-41A4-A15C-910365371638}"/>
              </a:ext>
            </a:extLst>
          </p:cNvPr>
          <p:cNvSpPr/>
          <p:nvPr/>
        </p:nvSpPr>
        <p:spPr>
          <a:xfrm>
            <a:off x="8886444" y="33051"/>
            <a:ext cx="2560320" cy="548640"/>
          </a:xfrm>
          <a:prstGeom prst="round2Same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ystem Integrato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108995-13E8-4662-9904-7319E511067D}"/>
              </a:ext>
            </a:extLst>
          </p:cNvPr>
          <p:cNvSpPr/>
          <p:nvPr/>
        </p:nvSpPr>
        <p:spPr>
          <a:xfrm>
            <a:off x="8295700" y="713684"/>
            <a:ext cx="3751592" cy="92333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tegrating Dealership legacy | ERP | DMS systems to modern day platforms</a:t>
            </a:r>
          </a:p>
        </p:txBody>
      </p:sp>
      <p:grpSp>
        <p:nvGrpSpPr>
          <p:cNvPr id="1035" name="Group 1034">
            <a:extLst>
              <a:ext uri="{FF2B5EF4-FFF2-40B4-BE49-F238E27FC236}">
                <a16:creationId xmlns:a16="http://schemas.microsoft.com/office/drawing/2014/main" id="{16E2B435-7E19-4105-865C-93ABEF12A3E6}"/>
              </a:ext>
            </a:extLst>
          </p:cNvPr>
          <p:cNvGrpSpPr/>
          <p:nvPr/>
        </p:nvGrpSpPr>
        <p:grpSpPr>
          <a:xfrm>
            <a:off x="8114616" y="2106976"/>
            <a:ext cx="4032557" cy="3657600"/>
            <a:chOff x="8114616" y="1745184"/>
            <a:chExt cx="4032557" cy="3657600"/>
          </a:xfrm>
          <a:solidFill>
            <a:schemeClr val="accent6">
              <a:lumMod val="60000"/>
              <a:lumOff val="40000"/>
            </a:schemeClr>
          </a:solidFill>
        </p:grpSpPr>
        <p:pic>
          <p:nvPicPr>
            <p:cNvPr id="1033" name="Picture 1032">
              <a:extLst>
                <a:ext uri="{FF2B5EF4-FFF2-40B4-BE49-F238E27FC236}">
                  <a16:creationId xmlns:a16="http://schemas.microsoft.com/office/drawing/2014/main" id="{F218DAA1-AE60-4D7D-BF65-9C0F1E2FAAD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114616" y="1745184"/>
              <a:ext cx="4032557" cy="3657600"/>
            </a:xfrm>
            <a:prstGeom prst="rect">
              <a:avLst/>
            </a:prstGeom>
            <a:grpFill/>
          </p:spPr>
        </p:pic>
        <p:grpSp>
          <p:nvGrpSpPr>
            <p:cNvPr id="450" name="Group 449">
              <a:extLst>
                <a:ext uri="{FF2B5EF4-FFF2-40B4-BE49-F238E27FC236}">
                  <a16:creationId xmlns:a16="http://schemas.microsoft.com/office/drawing/2014/main" id="{07BBFE27-1D39-43D4-8871-4C35D6EE808D}"/>
                </a:ext>
              </a:extLst>
            </p:cNvPr>
            <p:cNvGrpSpPr/>
            <p:nvPr/>
          </p:nvGrpSpPr>
          <p:grpSpPr>
            <a:xfrm>
              <a:off x="9822758" y="3265303"/>
              <a:ext cx="616273" cy="617362"/>
              <a:chOff x="6681788" y="3267075"/>
              <a:chExt cx="898525" cy="900113"/>
            </a:xfrm>
            <a:grpFill/>
          </p:grpSpPr>
          <p:sp>
            <p:nvSpPr>
              <p:cNvPr id="451" name="Freeform 29">
                <a:extLst>
                  <a:ext uri="{FF2B5EF4-FFF2-40B4-BE49-F238E27FC236}">
                    <a16:creationId xmlns:a16="http://schemas.microsoft.com/office/drawing/2014/main" id="{3CE1B626-580A-4FC2-987B-FC7B00C9A2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1200" y="3267075"/>
                <a:ext cx="139700" cy="141288"/>
              </a:xfrm>
              <a:custGeom>
                <a:avLst/>
                <a:gdLst>
                  <a:gd name="T0" fmla="*/ 68 w 68"/>
                  <a:gd name="T1" fmla="*/ 34 h 68"/>
                  <a:gd name="T2" fmla="*/ 34 w 68"/>
                  <a:gd name="T3" fmla="*/ 68 h 68"/>
                  <a:gd name="T4" fmla="*/ 0 w 68"/>
                  <a:gd name="T5" fmla="*/ 34 h 68"/>
                  <a:gd name="T6" fmla="*/ 34 w 68"/>
                  <a:gd name="T7" fmla="*/ 0 h 68"/>
                  <a:gd name="T8" fmla="*/ 68 w 68"/>
                  <a:gd name="T9" fmla="*/ 34 h 68"/>
                  <a:gd name="T10" fmla="*/ 68 w 68"/>
                  <a:gd name="T11" fmla="*/ 34 h 68"/>
                  <a:gd name="T12" fmla="*/ 68 w 68"/>
                  <a:gd name="T13" fmla="*/ 3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68">
                    <a:moveTo>
                      <a:pt x="68" y="34"/>
                    </a:moveTo>
                    <a:cubicBezTo>
                      <a:pt x="68" y="53"/>
                      <a:pt x="53" y="68"/>
                      <a:pt x="34" y="68"/>
                    </a:cubicBezTo>
                    <a:cubicBezTo>
                      <a:pt x="15" y="68"/>
                      <a:pt x="0" y="53"/>
                      <a:pt x="0" y="34"/>
                    </a:cubicBezTo>
                    <a:cubicBezTo>
                      <a:pt x="0" y="15"/>
                      <a:pt x="15" y="0"/>
                      <a:pt x="34" y="0"/>
                    </a:cubicBezTo>
                    <a:cubicBezTo>
                      <a:pt x="53" y="0"/>
                      <a:pt x="68" y="15"/>
                      <a:pt x="68" y="34"/>
                    </a:cubicBezTo>
                    <a:close/>
                    <a:moveTo>
                      <a:pt x="68" y="34"/>
                    </a:moveTo>
                    <a:cubicBezTo>
                      <a:pt x="68" y="34"/>
                      <a:pt x="68" y="34"/>
                      <a:pt x="68" y="3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2" name="Freeform 30">
                <a:extLst>
                  <a:ext uri="{FF2B5EF4-FFF2-40B4-BE49-F238E27FC236}">
                    <a16:creationId xmlns:a16="http://schemas.microsoft.com/office/drawing/2014/main" id="{F51B2ADA-034E-4828-AAB2-EE586BA970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1200" y="4025900"/>
                <a:ext cx="139700" cy="141288"/>
              </a:xfrm>
              <a:custGeom>
                <a:avLst/>
                <a:gdLst>
                  <a:gd name="T0" fmla="*/ 68 w 68"/>
                  <a:gd name="T1" fmla="*/ 34 h 68"/>
                  <a:gd name="T2" fmla="*/ 34 w 68"/>
                  <a:gd name="T3" fmla="*/ 68 h 68"/>
                  <a:gd name="T4" fmla="*/ 0 w 68"/>
                  <a:gd name="T5" fmla="*/ 34 h 68"/>
                  <a:gd name="T6" fmla="*/ 34 w 68"/>
                  <a:gd name="T7" fmla="*/ 0 h 68"/>
                  <a:gd name="T8" fmla="*/ 68 w 68"/>
                  <a:gd name="T9" fmla="*/ 34 h 68"/>
                  <a:gd name="T10" fmla="*/ 68 w 68"/>
                  <a:gd name="T11" fmla="*/ 34 h 68"/>
                  <a:gd name="T12" fmla="*/ 68 w 68"/>
                  <a:gd name="T13" fmla="*/ 3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68">
                    <a:moveTo>
                      <a:pt x="68" y="34"/>
                    </a:moveTo>
                    <a:cubicBezTo>
                      <a:pt x="68" y="53"/>
                      <a:pt x="53" y="68"/>
                      <a:pt x="34" y="68"/>
                    </a:cubicBezTo>
                    <a:cubicBezTo>
                      <a:pt x="15" y="68"/>
                      <a:pt x="0" y="53"/>
                      <a:pt x="0" y="34"/>
                    </a:cubicBezTo>
                    <a:cubicBezTo>
                      <a:pt x="0" y="15"/>
                      <a:pt x="15" y="0"/>
                      <a:pt x="34" y="0"/>
                    </a:cubicBezTo>
                    <a:cubicBezTo>
                      <a:pt x="53" y="0"/>
                      <a:pt x="68" y="15"/>
                      <a:pt x="68" y="34"/>
                    </a:cubicBezTo>
                    <a:close/>
                    <a:moveTo>
                      <a:pt x="68" y="34"/>
                    </a:moveTo>
                    <a:cubicBezTo>
                      <a:pt x="68" y="34"/>
                      <a:pt x="68" y="34"/>
                      <a:pt x="68" y="3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3" name="Freeform 31">
                <a:extLst>
                  <a:ext uri="{FF2B5EF4-FFF2-40B4-BE49-F238E27FC236}">
                    <a16:creationId xmlns:a16="http://schemas.microsoft.com/office/drawing/2014/main" id="{F42332A2-E8E0-44D0-9A3F-38375CC147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40613" y="3646488"/>
                <a:ext cx="139700" cy="141288"/>
              </a:xfrm>
              <a:custGeom>
                <a:avLst/>
                <a:gdLst>
                  <a:gd name="T0" fmla="*/ 68 w 68"/>
                  <a:gd name="T1" fmla="*/ 34 h 68"/>
                  <a:gd name="T2" fmla="*/ 34 w 68"/>
                  <a:gd name="T3" fmla="*/ 68 h 68"/>
                  <a:gd name="T4" fmla="*/ 0 w 68"/>
                  <a:gd name="T5" fmla="*/ 34 h 68"/>
                  <a:gd name="T6" fmla="*/ 34 w 68"/>
                  <a:gd name="T7" fmla="*/ 0 h 68"/>
                  <a:gd name="T8" fmla="*/ 68 w 68"/>
                  <a:gd name="T9" fmla="*/ 34 h 68"/>
                  <a:gd name="T10" fmla="*/ 68 w 68"/>
                  <a:gd name="T11" fmla="*/ 34 h 68"/>
                  <a:gd name="T12" fmla="*/ 68 w 68"/>
                  <a:gd name="T13" fmla="*/ 3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68">
                    <a:moveTo>
                      <a:pt x="68" y="34"/>
                    </a:moveTo>
                    <a:cubicBezTo>
                      <a:pt x="68" y="53"/>
                      <a:pt x="53" y="68"/>
                      <a:pt x="34" y="68"/>
                    </a:cubicBezTo>
                    <a:cubicBezTo>
                      <a:pt x="15" y="68"/>
                      <a:pt x="0" y="53"/>
                      <a:pt x="0" y="34"/>
                    </a:cubicBezTo>
                    <a:cubicBezTo>
                      <a:pt x="0" y="15"/>
                      <a:pt x="15" y="0"/>
                      <a:pt x="34" y="0"/>
                    </a:cubicBezTo>
                    <a:cubicBezTo>
                      <a:pt x="53" y="0"/>
                      <a:pt x="68" y="15"/>
                      <a:pt x="68" y="34"/>
                    </a:cubicBezTo>
                    <a:close/>
                    <a:moveTo>
                      <a:pt x="68" y="34"/>
                    </a:moveTo>
                    <a:cubicBezTo>
                      <a:pt x="68" y="34"/>
                      <a:pt x="68" y="34"/>
                      <a:pt x="68" y="3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4" name="Freeform 32">
                <a:extLst>
                  <a:ext uri="{FF2B5EF4-FFF2-40B4-BE49-F238E27FC236}">
                    <a16:creationId xmlns:a16="http://schemas.microsoft.com/office/drawing/2014/main" id="{B0891120-E1D6-46B9-B52E-592B90D277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81788" y="3646488"/>
                <a:ext cx="141288" cy="141288"/>
              </a:xfrm>
              <a:custGeom>
                <a:avLst/>
                <a:gdLst>
                  <a:gd name="T0" fmla="*/ 68 w 68"/>
                  <a:gd name="T1" fmla="*/ 34 h 68"/>
                  <a:gd name="T2" fmla="*/ 34 w 68"/>
                  <a:gd name="T3" fmla="*/ 68 h 68"/>
                  <a:gd name="T4" fmla="*/ 0 w 68"/>
                  <a:gd name="T5" fmla="*/ 34 h 68"/>
                  <a:gd name="T6" fmla="*/ 34 w 68"/>
                  <a:gd name="T7" fmla="*/ 0 h 68"/>
                  <a:gd name="T8" fmla="*/ 68 w 68"/>
                  <a:gd name="T9" fmla="*/ 34 h 68"/>
                  <a:gd name="T10" fmla="*/ 68 w 68"/>
                  <a:gd name="T11" fmla="*/ 34 h 68"/>
                  <a:gd name="T12" fmla="*/ 68 w 68"/>
                  <a:gd name="T13" fmla="*/ 3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68">
                    <a:moveTo>
                      <a:pt x="68" y="34"/>
                    </a:moveTo>
                    <a:cubicBezTo>
                      <a:pt x="68" y="53"/>
                      <a:pt x="53" y="68"/>
                      <a:pt x="34" y="68"/>
                    </a:cubicBezTo>
                    <a:cubicBezTo>
                      <a:pt x="15" y="68"/>
                      <a:pt x="0" y="53"/>
                      <a:pt x="0" y="34"/>
                    </a:cubicBezTo>
                    <a:cubicBezTo>
                      <a:pt x="0" y="15"/>
                      <a:pt x="15" y="0"/>
                      <a:pt x="34" y="0"/>
                    </a:cubicBezTo>
                    <a:cubicBezTo>
                      <a:pt x="53" y="0"/>
                      <a:pt x="68" y="15"/>
                      <a:pt x="68" y="34"/>
                    </a:cubicBezTo>
                    <a:close/>
                    <a:moveTo>
                      <a:pt x="68" y="34"/>
                    </a:moveTo>
                    <a:cubicBezTo>
                      <a:pt x="68" y="34"/>
                      <a:pt x="68" y="34"/>
                      <a:pt x="68" y="3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5" name="Freeform 33">
                <a:extLst>
                  <a:ext uri="{FF2B5EF4-FFF2-40B4-BE49-F238E27FC236}">
                    <a16:creationId xmlns:a16="http://schemas.microsoft.com/office/drawing/2014/main" id="{9A1C2DA8-AC3C-4981-AEC8-CD22CC8755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40538" y="3425825"/>
                <a:ext cx="581025" cy="582613"/>
              </a:xfrm>
              <a:custGeom>
                <a:avLst/>
                <a:gdLst>
                  <a:gd name="T0" fmla="*/ 240 w 282"/>
                  <a:gd name="T1" fmla="*/ 240 h 282"/>
                  <a:gd name="T2" fmla="*/ 232 w 282"/>
                  <a:gd name="T3" fmla="*/ 213 h 282"/>
                  <a:gd name="T4" fmla="*/ 226 w 282"/>
                  <a:gd name="T5" fmla="*/ 219 h 282"/>
                  <a:gd name="T6" fmla="*/ 193 w 282"/>
                  <a:gd name="T7" fmla="*/ 187 h 282"/>
                  <a:gd name="T8" fmla="*/ 209 w 282"/>
                  <a:gd name="T9" fmla="*/ 146 h 282"/>
                  <a:gd name="T10" fmla="*/ 256 w 282"/>
                  <a:gd name="T11" fmla="*/ 146 h 282"/>
                  <a:gd name="T12" fmla="*/ 256 w 282"/>
                  <a:gd name="T13" fmla="*/ 155 h 282"/>
                  <a:gd name="T14" fmla="*/ 282 w 282"/>
                  <a:gd name="T15" fmla="*/ 141 h 282"/>
                  <a:gd name="T16" fmla="*/ 256 w 282"/>
                  <a:gd name="T17" fmla="*/ 127 h 282"/>
                  <a:gd name="T18" fmla="*/ 256 w 282"/>
                  <a:gd name="T19" fmla="*/ 137 h 282"/>
                  <a:gd name="T20" fmla="*/ 209 w 282"/>
                  <a:gd name="T21" fmla="*/ 137 h 282"/>
                  <a:gd name="T22" fmla="*/ 192 w 282"/>
                  <a:gd name="T23" fmla="*/ 96 h 282"/>
                  <a:gd name="T24" fmla="*/ 226 w 282"/>
                  <a:gd name="T25" fmla="*/ 63 h 282"/>
                  <a:gd name="T26" fmla="*/ 232 w 282"/>
                  <a:gd name="T27" fmla="*/ 70 h 282"/>
                  <a:gd name="T28" fmla="*/ 240 w 282"/>
                  <a:gd name="T29" fmla="*/ 42 h 282"/>
                  <a:gd name="T30" fmla="*/ 213 w 282"/>
                  <a:gd name="T31" fmla="*/ 50 h 282"/>
                  <a:gd name="T32" fmla="*/ 219 w 282"/>
                  <a:gd name="T33" fmla="*/ 56 h 282"/>
                  <a:gd name="T34" fmla="*/ 185 w 282"/>
                  <a:gd name="T35" fmla="*/ 90 h 282"/>
                  <a:gd name="T36" fmla="*/ 146 w 282"/>
                  <a:gd name="T37" fmla="*/ 74 h 282"/>
                  <a:gd name="T38" fmla="*/ 146 w 282"/>
                  <a:gd name="T39" fmla="*/ 26 h 282"/>
                  <a:gd name="T40" fmla="*/ 155 w 282"/>
                  <a:gd name="T41" fmla="*/ 26 h 282"/>
                  <a:gd name="T42" fmla="*/ 141 w 282"/>
                  <a:gd name="T43" fmla="*/ 0 h 282"/>
                  <a:gd name="T44" fmla="*/ 127 w 282"/>
                  <a:gd name="T45" fmla="*/ 26 h 282"/>
                  <a:gd name="T46" fmla="*/ 136 w 282"/>
                  <a:gd name="T47" fmla="*/ 26 h 282"/>
                  <a:gd name="T48" fmla="*/ 136 w 282"/>
                  <a:gd name="T49" fmla="*/ 74 h 282"/>
                  <a:gd name="T50" fmla="*/ 97 w 282"/>
                  <a:gd name="T51" fmla="*/ 90 h 282"/>
                  <a:gd name="T52" fmla="*/ 63 w 282"/>
                  <a:gd name="T53" fmla="*/ 56 h 282"/>
                  <a:gd name="T54" fmla="*/ 69 w 282"/>
                  <a:gd name="T55" fmla="*/ 50 h 282"/>
                  <a:gd name="T56" fmla="*/ 42 w 282"/>
                  <a:gd name="T57" fmla="*/ 42 h 282"/>
                  <a:gd name="T58" fmla="*/ 50 w 282"/>
                  <a:gd name="T59" fmla="*/ 70 h 282"/>
                  <a:gd name="T60" fmla="*/ 56 w 282"/>
                  <a:gd name="T61" fmla="*/ 63 h 282"/>
                  <a:gd name="T62" fmla="*/ 90 w 282"/>
                  <a:gd name="T63" fmla="*/ 96 h 282"/>
                  <a:gd name="T64" fmla="*/ 73 w 282"/>
                  <a:gd name="T65" fmla="*/ 136 h 282"/>
                  <a:gd name="T66" fmla="*/ 26 w 282"/>
                  <a:gd name="T67" fmla="*/ 136 h 282"/>
                  <a:gd name="T68" fmla="*/ 26 w 282"/>
                  <a:gd name="T69" fmla="*/ 127 h 282"/>
                  <a:gd name="T70" fmla="*/ 0 w 282"/>
                  <a:gd name="T71" fmla="*/ 141 h 282"/>
                  <a:gd name="T72" fmla="*/ 26 w 282"/>
                  <a:gd name="T73" fmla="*/ 155 h 282"/>
                  <a:gd name="T74" fmla="*/ 26 w 282"/>
                  <a:gd name="T75" fmla="*/ 146 h 282"/>
                  <a:gd name="T76" fmla="*/ 73 w 282"/>
                  <a:gd name="T77" fmla="*/ 146 h 282"/>
                  <a:gd name="T78" fmla="*/ 89 w 282"/>
                  <a:gd name="T79" fmla="*/ 187 h 282"/>
                  <a:gd name="T80" fmla="*/ 56 w 282"/>
                  <a:gd name="T81" fmla="*/ 219 h 282"/>
                  <a:gd name="T82" fmla="*/ 50 w 282"/>
                  <a:gd name="T83" fmla="*/ 213 h 282"/>
                  <a:gd name="T84" fmla="*/ 42 w 282"/>
                  <a:gd name="T85" fmla="*/ 240 h 282"/>
                  <a:gd name="T86" fmla="*/ 69 w 282"/>
                  <a:gd name="T87" fmla="*/ 232 h 282"/>
                  <a:gd name="T88" fmla="*/ 63 w 282"/>
                  <a:gd name="T89" fmla="*/ 226 h 282"/>
                  <a:gd name="T90" fmla="*/ 95 w 282"/>
                  <a:gd name="T91" fmla="*/ 193 h 282"/>
                  <a:gd name="T92" fmla="*/ 136 w 282"/>
                  <a:gd name="T93" fmla="*/ 210 h 282"/>
                  <a:gd name="T94" fmla="*/ 136 w 282"/>
                  <a:gd name="T95" fmla="*/ 256 h 282"/>
                  <a:gd name="T96" fmla="*/ 127 w 282"/>
                  <a:gd name="T97" fmla="*/ 256 h 282"/>
                  <a:gd name="T98" fmla="*/ 141 w 282"/>
                  <a:gd name="T99" fmla="*/ 282 h 282"/>
                  <a:gd name="T100" fmla="*/ 155 w 282"/>
                  <a:gd name="T101" fmla="*/ 256 h 282"/>
                  <a:gd name="T102" fmla="*/ 146 w 282"/>
                  <a:gd name="T103" fmla="*/ 256 h 282"/>
                  <a:gd name="T104" fmla="*/ 146 w 282"/>
                  <a:gd name="T105" fmla="*/ 210 h 282"/>
                  <a:gd name="T106" fmla="*/ 187 w 282"/>
                  <a:gd name="T107" fmla="*/ 193 h 282"/>
                  <a:gd name="T108" fmla="*/ 219 w 282"/>
                  <a:gd name="T109" fmla="*/ 226 h 282"/>
                  <a:gd name="T110" fmla="*/ 213 w 282"/>
                  <a:gd name="T111" fmla="*/ 232 h 282"/>
                  <a:gd name="T112" fmla="*/ 240 w 282"/>
                  <a:gd name="T113" fmla="*/ 240 h 282"/>
                  <a:gd name="T114" fmla="*/ 240 w 282"/>
                  <a:gd name="T115" fmla="*/ 240 h 282"/>
                  <a:gd name="T116" fmla="*/ 240 w 282"/>
                  <a:gd name="T117" fmla="*/ 24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82" h="282">
                    <a:moveTo>
                      <a:pt x="240" y="240"/>
                    </a:moveTo>
                    <a:cubicBezTo>
                      <a:pt x="232" y="213"/>
                      <a:pt x="232" y="213"/>
                      <a:pt x="232" y="213"/>
                    </a:cubicBezTo>
                    <a:cubicBezTo>
                      <a:pt x="226" y="219"/>
                      <a:pt x="226" y="219"/>
                      <a:pt x="226" y="219"/>
                    </a:cubicBezTo>
                    <a:cubicBezTo>
                      <a:pt x="193" y="187"/>
                      <a:pt x="193" y="187"/>
                      <a:pt x="193" y="187"/>
                    </a:cubicBezTo>
                    <a:cubicBezTo>
                      <a:pt x="202" y="175"/>
                      <a:pt x="209" y="161"/>
                      <a:pt x="209" y="146"/>
                    </a:cubicBezTo>
                    <a:cubicBezTo>
                      <a:pt x="256" y="146"/>
                      <a:pt x="256" y="146"/>
                      <a:pt x="256" y="146"/>
                    </a:cubicBezTo>
                    <a:cubicBezTo>
                      <a:pt x="256" y="155"/>
                      <a:pt x="256" y="155"/>
                      <a:pt x="256" y="155"/>
                    </a:cubicBezTo>
                    <a:cubicBezTo>
                      <a:pt x="282" y="141"/>
                      <a:pt x="282" y="141"/>
                      <a:pt x="282" y="141"/>
                    </a:cubicBezTo>
                    <a:cubicBezTo>
                      <a:pt x="256" y="127"/>
                      <a:pt x="256" y="127"/>
                      <a:pt x="256" y="127"/>
                    </a:cubicBezTo>
                    <a:cubicBezTo>
                      <a:pt x="256" y="137"/>
                      <a:pt x="256" y="137"/>
                      <a:pt x="256" y="137"/>
                    </a:cubicBezTo>
                    <a:cubicBezTo>
                      <a:pt x="209" y="137"/>
                      <a:pt x="209" y="137"/>
                      <a:pt x="209" y="137"/>
                    </a:cubicBezTo>
                    <a:cubicBezTo>
                      <a:pt x="208" y="121"/>
                      <a:pt x="202" y="107"/>
                      <a:pt x="192" y="96"/>
                    </a:cubicBezTo>
                    <a:cubicBezTo>
                      <a:pt x="226" y="63"/>
                      <a:pt x="226" y="63"/>
                      <a:pt x="226" y="63"/>
                    </a:cubicBezTo>
                    <a:cubicBezTo>
                      <a:pt x="232" y="70"/>
                      <a:pt x="232" y="70"/>
                      <a:pt x="232" y="70"/>
                    </a:cubicBezTo>
                    <a:cubicBezTo>
                      <a:pt x="240" y="42"/>
                      <a:pt x="240" y="42"/>
                      <a:pt x="240" y="42"/>
                    </a:cubicBezTo>
                    <a:cubicBezTo>
                      <a:pt x="213" y="50"/>
                      <a:pt x="213" y="50"/>
                      <a:pt x="213" y="50"/>
                    </a:cubicBezTo>
                    <a:cubicBezTo>
                      <a:pt x="219" y="56"/>
                      <a:pt x="219" y="56"/>
                      <a:pt x="219" y="56"/>
                    </a:cubicBezTo>
                    <a:cubicBezTo>
                      <a:pt x="185" y="90"/>
                      <a:pt x="185" y="90"/>
                      <a:pt x="185" y="90"/>
                    </a:cubicBezTo>
                    <a:cubicBezTo>
                      <a:pt x="174" y="81"/>
                      <a:pt x="161" y="75"/>
                      <a:pt x="146" y="74"/>
                    </a:cubicBezTo>
                    <a:cubicBezTo>
                      <a:pt x="146" y="26"/>
                      <a:pt x="146" y="26"/>
                      <a:pt x="146" y="26"/>
                    </a:cubicBezTo>
                    <a:cubicBezTo>
                      <a:pt x="155" y="26"/>
                      <a:pt x="155" y="26"/>
                      <a:pt x="155" y="26"/>
                    </a:cubicBezTo>
                    <a:cubicBezTo>
                      <a:pt x="141" y="0"/>
                      <a:pt x="141" y="0"/>
                      <a:pt x="141" y="0"/>
                    </a:cubicBezTo>
                    <a:cubicBezTo>
                      <a:pt x="127" y="26"/>
                      <a:pt x="127" y="26"/>
                      <a:pt x="127" y="26"/>
                    </a:cubicBezTo>
                    <a:cubicBezTo>
                      <a:pt x="136" y="26"/>
                      <a:pt x="136" y="26"/>
                      <a:pt x="136" y="26"/>
                    </a:cubicBezTo>
                    <a:cubicBezTo>
                      <a:pt x="136" y="74"/>
                      <a:pt x="136" y="74"/>
                      <a:pt x="136" y="74"/>
                    </a:cubicBezTo>
                    <a:cubicBezTo>
                      <a:pt x="121" y="75"/>
                      <a:pt x="107" y="81"/>
                      <a:pt x="97" y="90"/>
                    </a:cubicBezTo>
                    <a:cubicBezTo>
                      <a:pt x="63" y="56"/>
                      <a:pt x="63" y="56"/>
                      <a:pt x="63" y="56"/>
                    </a:cubicBezTo>
                    <a:cubicBezTo>
                      <a:pt x="69" y="50"/>
                      <a:pt x="69" y="50"/>
                      <a:pt x="69" y="50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50" y="70"/>
                      <a:pt x="50" y="70"/>
                      <a:pt x="50" y="70"/>
                    </a:cubicBezTo>
                    <a:cubicBezTo>
                      <a:pt x="56" y="63"/>
                      <a:pt x="56" y="63"/>
                      <a:pt x="56" y="63"/>
                    </a:cubicBezTo>
                    <a:cubicBezTo>
                      <a:pt x="90" y="96"/>
                      <a:pt x="90" y="96"/>
                      <a:pt x="90" y="96"/>
                    </a:cubicBezTo>
                    <a:cubicBezTo>
                      <a:pt x="80" y="107"/>
                      <a:pt x="74" y="121"/>
                      <a:pt x="73" y="136"/>
                    </a:cubicBezTo>
                    <a:cubicBezTo>
                      <a:pt x="26" y="136"/>
                      <a:pt x="26" y="136"/>
                      <a:pt x="26" y="136"/>
                    </a:cubicBezTo>
                    <a:cubicBezTo>
                      <a:pt x="26" y="127"/>
                      <a:pt x="26" y="127"/>
                      <a:pt x="26" y="127"/>
                    </a:cubicBezTo>
                    <a:cubicBezTo>
                      <a:pt x="0" y="141"/>
                      <a:pt x="0" y="141"/>
                      <a:pt x="0" y="141"/>
                    </a:cubicBezTo>
                    <a:cubicBezTo>
                      <a:pt x="26" y="155"/>
                      <a:pt x="26" y="155"/>
                      <a:pt x="26" y="155"/>
                    </a:cubicBezTo>
                    <a:cubicBezTo>
                      <a:pt x="26" y="146"/>
                      <a:pt x="26" y="146"/>
                      <a:pt x="26" y="146"/>
                    </a:cubicBezTo>
                    <a:cubicBezTo>
                      <a:pt x="73" y="146"/>
                      <a:pt x="73" y="146"/>
                      <a:pt x="73" y="146"/>
                    </a:cubicBezTo>
                    <a:cubicBezTo>
                      <a:pt x="73" y="161"/>
                      <a:pt x="79" y="175"/>
                      <a:pt x="89" y="187"/>
                    </a:cubicBezTo>
                    <a:cubicBezTo>
                      <a:pt x="56" y="219"/>
                      <a:pt x="56" y="219"/>
                      <a:pt x="56" y="219"/>
                    </a:cubicBezTo>
                    <a:cubicBezTo>
                      <a:pt x="50" y="213"/>
                      <a:pt x="50" y="213"/>
                      <a:pt x="50" y="213"/>
                    </a:cubicBezTo>
                    <a:cubicBezTo>
                      <a:pt x="42" y="240"/>
                      <a:pt x="42" y="240"/>
                      <a:pt x="42" y="240"/>
                    </a:cubicBezTo>
                    <a:cubicBezTo>
                      <a:pt x="69" y="232"/>
                      <a:pt x="69" y="232"/>
                      <a:pt x="69" y="232"/>
                    </a:cubicBezTo>
                    <a:cubicBezTo>
                      <a:pt x="63" y="226"/>
                      <a:pt x="63" y="226"/>
                      <a:pt x="63" y="226"/>
                    </a:cubicBezTo>
                    <a:cubicBezTo>
                      <a:pt x="95" y="193"/>
                      <a:pt x="95" y="193"/>
                      <a:pt x="95" y="193"/>
                    </a:cubicBezTo>
                    <a:cubicBezTo>
                      <a:pt x="106" y="203"/>
                      <a:pt x="121" y="209"/>
                      <a:pt x="136" y="210"/>
                    </a:cubicBezTo>
                    <a:cubicBezTo>
                      <a:pt x="136" y="256"/>
                      <a:pt x="136" y="256"/>
                      <a:pt x="136" y="256"/>
                    </a:cubicBezTo>
                    <a:cubicBezTo>
                      <a:pt x="127" y="256"/>
                      <a:pt x="127" y="256"/>
                      <a:pt x="127" y="256"/>
                    </a:cubicBezTo>
                    <a:cubicBezTo>
                      <a:pt x="141" y="282"/>
                      <a:pt x="141" y="282"/>
                      <a:pt x="141" y="282"/>
                    </a:cubicBezTo>
                    <a:cubicBezTo>
                      <a:pt x="155" y="256"/>
                      <a:pt x="155" y="256"/>
                      <a:pt x="155" y="256"/>
                    </a:cubicBezTo>
                    <a:cubicBezTo>
                      <a:pt x="146" y="256"/>
                      <a:pt x="146" y="256"/>
                      <a:pt x="146" y="256"/>
                    </a:cubicBezTo>
                    <a:cubicBezTo>
                      <a:pt x="146" y="210"/>
                      <a:pt x="146" y="210"/>
                      <a:pt x="146" y="210"/>
                    </a:cubicBezTo>
                    <a:cubicBezTo>
                      <a:pt x="161" y="209"/>
                      <a:pt x="176" y="203"/>
                      <a:pt x="187" y="193"/>
                    </a:cubicBezTo>
                    <a:cubicBezTo>
                      <a:pt x="219" y="226"/>
                      <a:pt x="219" y="226"/>
                      <a:pt x="219" y="226"/>
                    </a:cubicBezTo>
                    <a:cubicBezTo>
                      <a:pt x="213" y="232"/>
                      <a:pt x="213" y="232"/>
                      <a:pt x="213" y="232"/>
                    </a:cubicBezTo>
                    <a:lnTo>
                      <a:pt x="240" y="240"/>
                    </a:lnTo>
                    <a:close/>
                    <a:moveTo>
                      <a:pt x="240" y="240"/>
                    </a:moveTo>
                    <a:cubicBezTo>
                      <a:pt x="240" y="240"/>
                      <a:pt x="240" y="240"/>
                      <a:pt x="240" y="24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6" name="Freeform 34">
                <a:extLst>
                  <a:ext uri="{FF2B5EF4-FFF2-40B4-BE49-F238E27FC236}">
                    <a16:creationId xmlns:a16="http://schemas.microsoft.com/office/drawing/2014/main" id="{F626845B-4A05-4A22-AFBA-8CC805DCF8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29488" y="3379788"/>
                <a:ext cx="139700" cy="139700"/>
              </a:xfrm>
              <a:custGeom>
                <a:avLst/>
                <a:gdLst>
                  <a:gd name="T0" fmla="*/ 68 w 68"/>
                  <a:gd name="T1" fmla="*/ 34 h 68"/>
                  <a:gd name="T2" fmla="*/ 34 w 68"/>
                  <a:gd name="T3" fmla="*/ 68 h 68"/>
                  <a:gd name="T4" fmla="*/ 0 w 68"/>
                  <a:gd name="T5" fmla="*/ 34 h 68"/>
                  <a:gd name="T6" fmla="*/ 34 w 68"/>
                  <a:gd name="T7" fmla="*/ 0 h 68"/>
                  <a:gd name="T8" fmla="*/ 68 w 68"/>
                  <a:gd name="T9" fmla="*/ 34 h 68"/>
                  <a:gd name="T10" fmla="*/ 68 w 68"/>
                  <a:gd name="T11" fmla="*/ 34 h 68"/>
                  <a:gd name="T12" fmla="*/ 68 w 68"/>
                  <a:gd name="T13" fmla="*/ 3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68">
                    <a:moveTo>
                      <a:pt x="68" y="34"/>
                    </a:moveTo>
                    <a:cubicBezTo>
                      <a:pt x="68" y="52"/>
                      <a:pt x="53" y="68"/>
                      <a:pt x="34" y="68"/>
                    </a:cubicBezTo>
                    <a:cubicBezTo>
                      <a:pt x="15" y="68"/>
                      <a:pt x="0" y="52"/>
                      <a:pt x="0" y="34"/>
                    </a:cubicBezTo>
                    <a:cubicBezTo>
                      <a:pt x="0" y="15"/>
                      <a:pt x="15" y="0"/>
                      <a:pt x="34" y="0"/>
                    </a:cubicBezTo>
                    <a:cubicBezTo>
                      <a:pt x="53" y="0"/>
                      <a:pt x="68" y="15"/>
                      <a:pt x="68" y="34"/>
                    </a:cubicBezTo>
                    <a:close/>
                    <a:moveTo>
                      <a:pt x="68" y="34"/>
                    </a:moveTo>
                    <a:cubicBezTo>
                      <a:pt x="68" y="34"/>
                      <a:pt x="68" y="34"/>
                      <a:pt x="68" y="3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7" name="Freeform 35">
                <a:extLst>
                  <a:ext uri="{FF2B5EF4-FFF2-40B4-BE49-F238E27FC236}">
                    <a16:creationId xmlns:a16="http://schemas.microsoft.com/office/drawing/2014/main" id="{6D064EE8-37F0-46D7-8640-D27467CD1D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92913" y="3914775"/>
                <a:ext cx="141288" cy="141288"/>
              </a:xfrm>
              <a:custGeom>
                <a:avLst/>
                <a:gdLst>
                  <a:gd name="T0" fmla="*/ 68 w 68"/>
                  <a:gd name="T1" fmla="*/ 34 h 68"/>
                  <a:gd name="T2" fmla="*/ 34 w 68"/>
                  <a:gd name="T3" fmla="*/ 68 h 68"/>
                  <a:gd name="T4" fmla="*/ 0 w 68"/>
                  <a:gd name="T5" fmla="*/ 34 h 68"/>
                  <a:gd name="T6" fmla="*/ 34 w 68"/>
                  <a:gd name="T7" fmla="*/ 0 h 68"/>
                  <a:gd name="T8" fmla="*/ 68 w 68"/>
                  <a:gd name="T9" fmla="*/ 34 h 68"/>
                  <a:gd name="T10" fmla="*/ 68 w 68"/>
                  <a:gd name="T11" fmla="*/ 34 h 68"/>
                  <a:gd name="T12" fmla="*/ 68 w 68"/>
                  <a:gd name="T13" fmla="*/ 3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68">
                    <a:moveTo>
                      <a:pt x="68" y="34"/>
                    </a:moveTo>
                    <a:cubicBezTo>
                      <a:pt x="68" y="53"/>
                      <a:pt x="52" y="68"/>
                      <a:pt x="34" y="68"/>
                    </a:cubicBezTo>
                    <a:cubicBezTo>
                      <a:pt x="15" y="68"/>
                      <a:pt x="0" y="53"/>
                      <a:pt x="0" y="34"/>
                    </a:cubicBezTo>
                    <a:cubicBezTo>
                      <a:pt x="0" y="16"/>
                      <a:pt x="15" y="0"/>
                      <a:pt x="34" y="0"/>
                    </a:cubicBezTo>
                    <a:cubicBezTo>
                      <a:pt x="52" y="0"/>
                      <a:pt x="68" y="16"/>
                      <a:pt x="68" y="34"/>
                    </a:cubicBezTo>
                    <a:close/>
                    <a:moveTo>
                      <a:pt x="68" y="34"/>
                    </a:moveTo>
                    <a:cubicBezTo>
                      <a:pt x="68" y="34"/>
                      <a:pt x="68" y="34"/>
                      <a:pt x="68" y="3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8" name="Freeform 36">
                <a:extLst>
                  <a:ext uri="{FF2B5EF4-FFF2-40B4-BE49-F238E27FC236}">
                    <a16:creationId xmlns:a16="http://schemas.microsoft.com/office/drawing/2014/main" id="{5FBE4822-6EBD-4DA7-BBA5-462ACA9718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29488" y="3914775"/>
                <a:ext cx="139700" cy="141288"/>
              </a:xfrm>
              <a:custGeom>
                <a:avLst/>
                <a:gdLst>
                  <a:gd name="T0" fmla="*/ 68 w 68"/>
                  <a:gd name="T1" fmla="*/ 34 h 68"/>
                  <a:gd name="T2" fmla="*/ 34 w 68"/>
                  <a:gd name="T3" fmla="*/ 68 h 68"/>
                  <a:gd name="T4" fmla="*/ 0 w 68"/>
                  <a:gd name="T5" fmla="*/ 34 h 68"/>
                  <a:gd name="T6" fmla="*/ 34 w 68"/>
                  <a:gd name="T7" fmla="*/ 0 h 68"/>
                  <a:gd name="T8" fmla="*/ 68 w 68"/>
                  <a:gd name="T9" fmla="*/ 34 h 68"/>
                  <a:gd name="T10" fmla="*/ 68 w 68"/>
                  <a:gd name="T11" fmla="*/ 34 h 68"/>
                  <a:gd name="T12" fmla="*/ 68 w 68"/>
                  <a:gd name="T13" fmla="*/ 3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68">
                    <a:moveTo>
                      <a:pt x="68" y="34"/>
                    </a:moveTo>
                    <a:cubicBezTo>
                      <a:pt x="68" y="53"/>
                      <a:pt x="53" y="68"/>
                      <a:pt x="34" y="68"/>
                    </a:cubicBezTo>
                    <a:cubicBezTo>
                      <a:pt x="15" y="68"/>
                      <a:pt x="0" y="53"/>
                      <a:pt x="0" y="34"/>
                    </a:cubicBezTo>
                    <a:cubicBezTo>
                      <a:pt x="0" y="16"/>
                      <a:pt x="15" y="0"/>
                      <a:pt x="34" y="0"/>
                    </a:cubicBezTo>
                    <a:cubicBezTo>
                      <a:pt x="53" y="0"/>
                      <a:pt x="68" y="16"/>
                      <a:pt x="68" y="34"/>
                    </a:cubicBezTo>
                    <a:close/>
                    <a:moveTo>
                      <a:pt x="68" y="34"/>
                    </a:moveTo>
                    <a:cubicBezTo>
                      <a:pt x="68" y="34"/>
                      <a:pt x="68" y="34"/>
                      <a:pt x="68" y="3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9" name="Freeform 37">
                <a:extLst>
                  <a:ext uri="{FF2B5EF4-FFF2-40B4-BE49-F238E27FC236}">
                    <a16:creationId xmlns:a16="http://schemas.microsoft.com/office/drawing/2014/main" id="{8FD7C815-D146-4574-9231-92120BDEEC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92913" y="3379788"/>
                <a:ext cx="141288" cy="139700"/>
              </a:xfrm>
              <a:custGeom>
                <a:avLst/>
                <a:gdLst>
                  <a:gd name="T0" fmla="*/ 68 w 68"/>
                  <a:gd name="T1" fmla="*/ 34 h 68"/>
                  <a:gd name="T2" fmla="*/ 34 w 68"/>
                  <a:gd name="T3" fmla="*/ 68 h 68"/>
                  <a:gd name="T4" fmla="*/ 0 w 68"/>
                  <a:gd name="T5" fmla="*/ 34 h 68"/>
                  <a:gd name="T6" fmla="*/ 34 w 68"/>
                  <a:gd name="T7" fmla="*/ 0 h 68"/>
                  <a:gd name="T8" fmla="*/ 68 w 68"/>
                  <a:gd name="T9" fmla="*/ 34 h 68"/>
                  <a:gd name="T10" fmla="*/ 68 w 68"/>
                  <a:gd name="T11" fmla="*/ 34 h 68"/>
                  <a:gd name="T12" fmla="*/ 68 w 68"/>
                  <a:gd name="T13" fmla="*/ 3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68">
                    <a:moveTo>
                      <a:pt x="68" y="34"/>
                    </a:moveTo>
                    <a:cubicBezTo>
                      <a:pt x="68" y="53"/>
                      <a:pt x="52" y="68"/>
                      <a:pt x="34" y="68"/>
                    </a:cubicBezTo>
                    <a:cubicBezTo>
                      <a:pt x="15" y="68"/>
                      <a:pt x="0" y="53"/>
                      <a:pt x="0" y="34"/>
                    </a:cubicBezTo>
                    <a:cubicBezTo>
                      <a:pt x="0" y="15"/>
                      <a:pt x="15" y="0"/>
                      <a:pt x="34" y="0"/>
                    </a:cubicBezTo>
                    <a:cubicBezTo>
                      <a:pt x="52" y="0"/>
                      <a:pt x="68" y="15"/>
                      <a:pt x="68" y="34"/>
                    </a:cubicBezTo>
                    <a:close/>
                    <a:moveTo>
                      <a:pt x="68" y="34"/>
                    </a:moveTo>
                    <a:cubicBezTo>
                      <a:pt x="68" y="34"/>
                      <a:pt x="68" y="34"/>
                      <a:pt x="68" y="3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20" name="Picture 1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6120" y="1865631"/>
            <a:ext cx="3911004" cy="2913678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6120" y="5003179"/>
            <a:ext cx="3785220" cy="377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6327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D69AFAAA-9D18-4D55-9250-AC4D6FC29B44}"/>
              </a:ext>
            </a:extLst>
          </p:cNvPr>
          <p:cNvSpPr/>
          <p:nvPr/>
        </p:nvSpPr>
        <p:spPr>
          <a:xfrm>
            <a:off x="352542" y="966030"/>
            <a:ext cx="1191412" cy="4995516"/>
          </a:xfrm>
          <a:prstGeom prst="rect">
            <a:avLst/>
          </a:prstGeom>
          <a:solidFill>
            <a:srgbClr val="616B79"/>
          </a:solidFill>
          <a:ln w="3175">
            <a:solidFill>
              <a:schemeClr val="bg1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5AC69A-0B2F-42F3-86F3-52AC0AA4CF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656" y="100368"/>
            <a:ext cx="9556060" cy="424732"/>
          </a:xfrm>
        </p:spPr>
        <p:txBody>
          <a:bodyPr/>
          <a:lstStyle/>
          <a:p>
            <a:r>
              <a:rPr lang="en-IN" dirty="0"/>
              <a:t>Sales Landscape – For Dealer Of Tomorrow</a:t>
            </a:r>
            <a:endParaRPr lang="en-US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A7E4808-26CE-4E8C-959E-10FDA6875CA7}"/>
              </a:ext>
            </a:extLst>
          </p:cNvPr>
          <p:cNvSpPr/>
          <p:nvPr/>
        </p:nvSpPr>
        <p:spPr>
          <a:xfrm>
            <a:off x="1703026" y="2191078"/>
            <a:ext cx="7755308" cy="10663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4EF422F-2B2B-47BF-9798-F860E34CE045}"/>
              </a:ext>
            </a:extLst>
          </p:cNvPr>
          <p:cNvSpPr txBox="1"/>
          <p:nvPr/>
        </p:nvSpPr>
        <p:spPr>
          <a:xfrm>
            <a:off x="1725060" y="2420876"/>
            <a:ext cx="129757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ified Customer Experience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EB4AB8C0-0E9D-4D96-8F99-A9B41304BD46}"/>
              </a:ext>
            </a:extLst>
          </p:cNvPr>
          <p:cNvSpPr/>
          <p:nvPr/>
        </p:nvSpPr>
        <p:spPr>
          <a:xfrm>
            <a:off x="3233986" y="2264739"/>
            <a:ext cx="1508988" cy="457200"/>
          </a:xfrm>
          <a:prstGeom prst="rect">
            <a:avLst/>
          </a:prstGeom>
          <a:solidFill>
            <a:srgbClr val="7A62A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r Configurator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764F76A-5DCF-4EA0-AB23-349EA166B62D}"/>
              </a:ext>
            </a:extLst>
          </p:cNvPr>
          <p:cNvSpPr/>
          <p:nvPr/>
        </p:nvSpPr>
        <p:spPr>
          <a:xfrm>
            <a:off x="6317797" y="2264739"/>
            <a:ext cx="1508988" cy="457200"/>
          </a:xfrm>
          <a:prstGeom prst="rect">
            <a:avLst/>
          </a:prstGeom>
          <a:solidFill>
            <a:srgbClr val="7A62A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ified Payment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4A0C51F9-929B-4369-9A7B-5634CBFAF125}"/>
              </a:ext>
            </a:extLst>
          </p:cNvPr>
          <p:cNvSpPr/>
          <p:nvPr/>
        </p:nvSpPr>
        <p:spPr>
          <a:xfrm>
            <a:off x="4775891" y="2264739"/>
            <a:ext cx="1508988" cy="457200"/>
          </a:xfrm>
          <a:prstGeom prst="rect">
            <a:avLst/>
          </a:prstGeom>
          <a:solidFill>
            <a:srgbClr val="7A62A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ynamic Pricing Engine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E61E7247-1327-47BE-98B2-F642DCDE3887}"/>
              </a:ext>
            </a:extLst>
          </p:cNvPr>
          <p:cNvSpPr/>
          <p:nvPr/>
        </p:nvSpPr>
        <p:spPr>
          <a:xfrm>
            <a:off x="3233986" y="2773688"/>
            <a:ext cx="1508988" cy="457200"/>
          </a:xfrm>
          <a:prstGeom prst="rect">
            <a:avLst/>
          </a:prstGeom>
          <a:solidFill>
            <a:srgbClr val="7A62A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lf Service Kiosks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3BBAC619-32B7-4088-A8AC-FABAF94CE87B}"/>
              </a:ext>
            </a:extLst>
          </p:cNvPr>
          <p:cNvSpPr/>
          <p:nvPr/>
        </p:nvSpPr>
        <p:spPr>
          <a:xfrm>
            <a:off x="4775891" y="2773688"/>
            <a:ext cx="1508988" cy="457200"/>
          </a:xfrm>
          <a:prstGeom prst="rect">
            <a:avLst/>
          </a:prstGeom>
          <a:solidFill>
            <a:srgbClr val="7A62A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ll Center System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1E150FBF-F60B-4E3B-A151-D2AD7C44AF59}"/>
              </a:ext>
            </a:extLst>
          </p:cNvPr>
          <p:cNvSpPr/>
          <p:nvPr/>
        </p:nvSpPr>
        <p:spPr>
          <a:xfrm>
            <a:off x="6317797" y="2773688"/>
            <a:ext cx="1508988" cy="457200"/>
          </a:xfrm>
          <a:prstGeom prst="rect">
            <a:avLst/>
          </a:prstGeom>
          <a:solidFill>
            <a:srgbClr val="7A62A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rder Tracker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C66CFC4B-7BE9-45A8-B003-C30EE156DAB3}"/>
              </a:ext>
            </a:extLst>
          </p:cNvPr>
          <p:cNvSpPr txBox="1"/>
          <p:nvPr/>
        </p:nvSpPr>
        <p:spPr>
          <a:xfrm>
            <a:off x="425694" y="2381759"/>
            <a:ext cx="9917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D</a:t>
            </a:r>
            <a:br>
              <a:rPr lang="en-US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FIC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1F1299-02E9-4B09-83DF-BEFB97F0DC98}"/>
              </a:ext>
            </a:extLst>
          </p:cNvPr>
          <p:cNvSpPr/>
          <p:nvPr/>
        </p:nvSpPr>
        <p:spPr>
          <a:xfrm>
            <a:off x="1710810" y="3363761"/>
            <a:ext cx="7755308" cy="10283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3DC302D-E261-41B6-BC35-594BE0340E39}"/>
              </a:ext>
            </a:extLst>
          </p:cNvPr>
          <p:cNvSpPr txBox="1"/>
          <p:nvPr/>
        </p:nvSpPr>
        <p:spPr>
          <a:xfrm>
            <a:off x="1725060" y="3656386"/>
            <a:ext cx="13276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gital Process Enablement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B4AB8C0-0E9D-4D96-8F99-A9B41304BD46}"/>
              </a:ext>
            </a:extLst>
          </p:cNvPr>
          <p:cNvSpPr/>
          <p:nvPr/>
        </p:nvSpPr>
        <p:spPr>
          <a:xfrm>
            <a:off x="3950083" y="3402288"/>
            <a:ext cx="1508988" cy="457200"/>
          </a:xfrm>
          <a:prstGeom prst="rect">
            <a:avLst/>
          </a:prstGeom>
          <a:solidFill>
            <a:srgbClr val="588CA4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ehicle 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gmt.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764F76A-5DCF-4EA0-AB23-349EA166B62D}"/>
              </a:ext>
            </a:extLst>
          </p:cNvPr>
          <p:cNvSpPr/>
          <p:nvPr/>
        </p:nvSpPr>
        <p:spPr>
          <a:xfrm>
            <a:off x="7033893" y="3402288"/>
            <a:ext cx="1508988" cy="457200"/>
          </a:xfrm>
          <a:prstGeom prst="rect">
            <a:avLst/>
          </a:prstGeom>
          <a:solidFill>
            <a:srgbClr val="588CA4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gistics Mgmt.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4A0C51F9-929B-4369-9A7B-5634CBFAF125}"/>
              </a:ext>
            </a:extLst>
          </p:cNvPr>
          <p:cNvSpPr/>
          <p:nvPr/>
        </p:nvSpPr>
        <p:spPr>
          <a:xfrm>
            <a:off x="5491988" y="3402288"/>
            <a:ext cx="1508988" cy="457200"/>
          </a:xfrm>
          <a:prstGeom prst="rect">
            <a:avLst/>
          </a:prstGeom>
          <a:solidFill>
            <a:srgbClr val="588CA4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les Assistant App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E61E7247-1327-47BE-98B2-F642DCDE3887}"/>
              </a:ext>
            </a:extLst>
          </p:cNvPr>
          <p:cNvSpPr/>
          <p:nvPr/>
        </p:nvSpPr>
        <p:spPr>
          <a:xfrm>
            <a:off x="4730390" y="3889203"/>
            <a:ext cx="1508988" cy="457200"/>
          </a:xfrm>
          <a:prstGeom prst="rect">
            <a:avLst/>
          </a:prstGeom>
          <a:solidFill>
            <a:srgbClr val="588CA4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uote/Contract Mgmt.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BBAC619-32B7-4088-A8AC-FABAF94CE87B}"/>
              </a:ext>
            </a:extLst>
          </p:cNvPr>
          <p:cNvSpPr/>
          <p:nvPr/>
        </p:nvSpPr>
        <p:spPr>
          <a:xfrm>
            <a:off x="6272295" y="3889203"/>
            <a:ext cx="1508988" cy="457200"/>
          </a:xfrm>
          <a:prstGeom prst="rect">
            <a:avLst/>
          </a:prstGeom>
          <a:solidFill>
            <a:srgbClr val="588CA4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les Notification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22EE3593-169C-4B4C-9E87-76A8AB33DE69}"/>
              </a:ext>
            </a:extLst>
          </p:cNvPr>
          <p:cNvSpPr txBox="1"/>
          <p:nvPr/>
        </p:nvSpPr>
        <p:spPr>
          <a:xfrm>
            <a:off x="448918" y="3513165"/>
            <a:ext cx="10103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CK</a:t>
            </a:r>
            <a:br>
              <a:rPr lang="en-US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FIC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9BF4B942-0C79-4FD1-8395-9BEC087A25DB}"/>
              </a:ext>
            </a:extLst>
          </p:cNvPr>
          <p:cNvSpPr/>
          <p:nvPr/>
        </p:nvSpPr>
        <p:spPr>
          <a:xfrm>
            <a:off x="1703026" y="1019761"/>
            <a:ext cx="7755308" cy="10857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EB4AB8C0-0E9D-4D96-8F99-A9B41304BD46}"/>
              </a:ext>
            </a:extLst>
          </p:cNvPr>
          <p:cNvSpPr/>
          <p:nvPr/>
        </p:nvSpPr>
        <p:spPr>
          <a:xfrm>
            <a:off x="3184079" y="1094762"/>
            <a:ext cx="1508988" cy="457200"/>
          </a:xfrm>
          <a:prstGeom prst="rect">
            <a:avLst/>
          </a:prstGeom>
          <a:solidFill>
            <a:srgbClr val="7AC2D7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line Sales/ Reserve Portal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764F76A-5DCF-4EA0-AB23-349EA166B62D}"/>
              </a:ext>
            </a:extLst>
          </p:cNvPr>
          <p:cNvSpPr/>
          <p:nvPr/>
        </p:nvSpPr>
        <p:spPr>
          <a:xfrm>
            <a:off x="6267889" y="1094762"/>
            <a:ext cx="1508988" cy="457200"/>
          </a:xfrm>
          <a:prstGeom prst="rect">
            <a:avLst/>
          </a:prstGeom>
          <a:solidFill>
            <a:srgbClr val="7AC2D7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cing Calculator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4A0C51F9-929B-4369-9A7B-5634CBFAF125}"/>
              </a:ext>
            </a:extLst>
          </p:cNvPr>
          <p:cNvSpPr/>
          <p:nvPr/>
        </p:nvSpPr>
        <p:spPr>
          <a:xfrm>
            <a:off x="4725984" y="1094762"/>
            <a:ext cx="1508988" cy="457200"/>
          </a:xfrm>
          <a:prstGeom prst="rect">
            <a:avLst/>
          </a:prstGeom>
          <a:solidFill>
            <a:srgbClr val="7AC2D7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yalty Program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E61E7247-1327-47BE-98B2-F642DCDE3887}"/>
              </a:ext>
            </a:extLst>
          </p:cNvPr>
          <p:cNvSpPr/>
          <p:nvPr/>
        </p:nvSpPr>
        <p:spPr>
          <a:xfrm>
            <a:off x="3184079" y="1592694"/>
            <a:ext cx="1508988" cy="457200"/>
          </a:xfrm>
          <a:prstGeom prst="rect">
            <a:avLst/>
          </a:prstGeom>
          <a:solidFill>
            <a:srgbClr val="7AC2D7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st Drive Booking &amp; Planner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3BBAC619-32B7-4088-A8AC-FABAF94CE87B}"/>
              </a:ext>
            </a:extLst>
          </p:cNvPr>
          <p:cNvSpPr/>
          <p:nvPr/>
        </p:nvSpPr>
        <p:spPr>
          <a:xfrm>
            <a:off x="4725984" y="1592694"/>
            <a:ext cx="1508988" cy="457200"/>
          </a:xfrm>
          <a:prstGeom prst="rect">
            <a:avLst/>
          </a:prstGeom>
          <a:solidFill>
            <a:srgbClr val="7AC2D7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alership App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1E150FBF-F60B-4E3B-A151-D2AD7C44AF59}"/>
              </a:ext>
            </a:extLst>
          </p:cNvPr>
          <p:cNvSpPr/>
          <p:nvPr/>
        </p:nvSpPr>
        <p:spPr>
          <a:xfrm>
            <a:off x="6267889" y="1592694"/>
            <a:ext cx="1508988" cy="457200"/>
          </a:xfrm>
          <a:prstGeom prst="rect">
            <a:avLst/>
          </a:prstGeom>
          <a:solidFill>
            <a:srgbClr val="7AC2D7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irtual Walkin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9B710FD3-EFC5-4B89-AEE0-2A3378B00FBE}"/>
              </a:ext>
            </a:extLst>
          </p:cNvPr>
          <p:cNvSpPr/>
          <p:nvPr/>
        </p:nvSpPr>
        <p:spPr>
          <a:xfrm>
            <a:off x="7809795" y="1592694"/>
            <a:ext cx="1508988" cy="457200"/>
          </a:xfrm>
          <a:prstGeom prst="rect">
            <a:avLst/>
          </a:prstGeom>
          <a:solidFill>
            <a:srgbClr val="7AC2D7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ad generation Tool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400A7963-1C03-4220-9BBB-962435E8AAC4}"/>
              </a:ext>
            </a:extLst>
          </p:cNvPr>
          <p:cNvSpPr txBox="1"/>
          <p:nvPr/>
        </p:nvSpPr>
        <p:spPr>
          <a:xfrm>
            <a:off x="1725060" y="1195240"/>
            <a:ext cx="116424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gital Customer Connect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9E4FE59D-E3E0-46EC-865D-DB296FE04EE2}"/>
              </a:ext>
            </a:extLst>
          </p:cNvPr>
          <p:cNvSpPr txBox="1"/>
          <p:nvPr/>
        </p:nvSpPr>
        <p:spPr>
          <a:xfrm>
            <a:off x="443074" y="1157483"/>
            <a:ext cx="10084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en-US" sz="1600" b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RONT </a:t>
            </a:r>
          </a:p>
          <a:p>
            <a:r>
              <a:rPr lang="en-US" sz="1600" b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FICE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8C5A4C-B33F-4865-AE08-7C2994268E46}"/>
              </a:ext>
            </a:extLst>
          </p:cNvPr>
          <p:cNvSpPr/>
          <p:nvPr/>
        </p:nvSpPr>
        <p:spPr>
          <a:xfrm>
            <a:off x="1710812" y="4498506"/>
            <a:ext cx="7755307" cy="1463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1DB78E5-8643-41F4-A354-4CD6C198DF76}"/>
              </a:ext>
            </a:extLst>
          </p:cNvPr>
          <p:cNvSpPr/>
          <p:nvPr/>
        </p:nvSpPr>
        <p:spPr>
          <a:xfrm>
            <a:off x="3591766" y="5496509"/>
            <a:ext cx="1645920" cy="36576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M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6155838-17BB-4386-894E-CB11107CAA50}"/>
              </a:ext>
            </a:extLst>
          </p:cNvPr>
          <p:cNvSpPr/>
          <p:nvPr/>
        </p:nvSpPr>
        <p:spPr>
          <a:xfrm>
            <a:off x="7288188" y="5496509"/>
            <a:ext cx="1645920" cy="36576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RP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A7B617-8BC7-458B-8AFB-0FB52EA7F85D}"/>
              </a:ext>
            </a:extLst>
          </p:cNvPr>
          <p:cNvSpPr/>
          <p:nvPr/>
        </p:nvSpPr>
        <p:spPr>
          <a:xfrm>
            <a:off x="5439977" y="5496509"/>
            <a:ext cx="1645920" cy="36576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M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184022-D585-4A52-BBFE-A1C8D3862667}"/>
              </a:ext>
            </a:extLst>
          </p:cNvPr>
          <p:cNvSpPr/>
          <p:nvPr/>
        </p:nvSpPr>
        <p:spPr>
          <a:xfrm>
            <a:off x="3144411" y="5183502"/>
            <a:ext cx="6203847" cy="25408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Exchange Platfor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3F6E34C-51F1-47E8-876C-17C74087685F}"/>
              </a:ext>
            </a:extLst>
          </p:cNvPr>
          <p:cNvSpPr txBox="1"/>
          <p:nvPr/>
        </p:nvSpPr>
        <p:spPr>
          <a:xfrm>
            <a:off x="1725060" y="4888893"/>
            <a:ext cx="13353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Driven Decisions</a:t>
            </a:r>
            <a:endParaRPr lang="en-US" sz="1400" baseline="30000" dirty="0">
              <a:solidFill>
                <a:schemeClr val="tx1">
                  <a:lumMod val="85000"/>
                  <a:lumOff val="1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7BC8072-5054-4F74-B141-A8727F63FC90}"/>
              </a:ext>
            </a:extLst>
          </p:cNvPr>
          <p:cNvSpPr/>
          <p:nvPr/>
        </p:nvSpPr>
        <p:spPr>
          <a:xfrm>
            <a:off x="3144411" y="4555488"/>
            <a:ext cx="6203847" cy="26530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alytics Engine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17BC8072-5054-4F74-B141-A8727F63FC90}"/>
              </a:ext>
            </a:extLst>
          </p:cNvPr>
          <p:cNvSpPr/>
          <p:nvPr/>
        </p:nvSpPr>
        <p:spPr>
          <a:xfrm>
            <a:off x="3144411" y="4859443"/>
            <a:ext cx="3080170" cy="265302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ustomer Behavior Analytics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18A6E77A-C975-4B9F-A55A-EAC3D0B96BEF}"/>
              </a:ext>
            </a:extLst>
          </p:cNvPr>
          <p:cNvSpPr/>
          <p:nvPr/>
        </p:nvSpPr>
        <p:spPr>
          <a:xfrm>
            <a:off x="9606065" y="1019761"/>
            <a:ext cx="2286000" cy="4941785"/>
          </a:xfrm>
          <a:prstGeom prst="rect">
            <a:avLst/>
          </a:prstGeom>
          <a:solidFill>
            <a:srgbClr val="4D6B8D"/>
          </a:solidFill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217FD636-25DD-441D-B82A-1793E0AE549F}"/>
              </a:ext>
            </a:extLst>
          </p:cNvPr>
          <p:cNvSpPr txBox="1"/>
          <p:nvPr/>
        </p:nvSpPr>
        <p:spPr>
          <a:xfrm>
            <a:off x="9674716" y="2191649"/>
            <a:ext cx="21031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crease Customer Touch poi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hance Customer Rel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horter Sales Cycle</a:t>
            </a:r>
          </a:p>
          <a:p>
            <a:endParaRPr lang="en-US" sz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DE48A21C-3A3C-46FD-9C1A-BF1E59E13196}"/>
              </a:ext>
            </a:extLst>
          </p:cNvPr>
          <p:cNvSpPr txBox="1"/>
          <p:nvPr/>
        </p:nvSpPr>
        <p:spPr>
          <a:xfrm>
            <a:off x="9674716" y="3435413"/>
            <a:ext cx="21031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mprove process / workforce efficiency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igher Produ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duce Operational Cost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5EE5D470-55EF-4B3F-8153-6324B2D5E06F}"/>
              </a:ext>
            </a:extLst>
          </p:cNvPr>
          <p:cNvSpPr txBox="1"/>
          <p:nvPr/>
        </p:nvSpPr>
        <p:spPr>
          <a:xfrm>
            <a:off x="9674716" y="1084026"/>
            <a:ext cx="21031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tter Sales Number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igher Lead Generat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crease Sale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9E4FE59D-E3E0-46EC-865D-DB296FE04EE2}"/>
              </a:ext>
            </a:extLst>
          </p:cNvPr>
          <p:cNvSpPr txBox="1"/>
          <p:nvPr/>
        </p:nvSpPr>
        <p:spPr>
          <a:xfrm>
            <a:off x="9762852" y="655785"/>
            <a:ext cx="1980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5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HIEVEMENT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FA9F88C-1A66-4C61-9824-CB6116D6F8F1}"/>
              </a:ext>
            </a:extLst>
          </p:cNvPr>
          <p:cNvSpPr/>
          <p:nvPr/>
        </p:nvSpPr>
        <p:spPr>
          <a:xfrm>
            <a:off x="6268088" y="4859443"/>
            <a:ext cx="3080170" cy="265302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les Dashboard &amp; Analytics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286D6F6-E03A-438B-8CB7-FB284CACF231}"/>
              </a:ext>
            </a:extLst>
          </p:cNvPr>
          <p:cNvSpPr/>
          <p:nvPr/>
        </p:nvSpPr>
        <p:spPr>
          <a:xfrm>
            <a:off x="7809795" y="1081421"/>
            <a:ext cx="1508988" cy="457200"/>
          </a:xfrm>
          <a:prstGeom prst="rect">
            <a:avLst/>
          </a:prstGeom>
          <a:solidFill>
            <a:srgbClr val="7AC2D7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ustomer 360° Portal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2B7E5BB-7D77-449C-BDC8-0B1DF4B788B8}"/>
              </a:ext>
            </a:extLst>
          </p:cNvPr>
          <p:cNvSpPr/>
          <p:nvPr/>
        </p:nvSpPr>
        <p:spPr>
          <a:xfrm>
            <a:off x="7887034" y="2261904"/>
            <a:ext cx="1508988" cy="457200"/>
          </a:xfrm>
          <a:prstGeom prst="rect">
            <a:avLst/>
          </a:prstGeom>
          <a:solidFill>
            <a:srgbClr val="7A62A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aler CRM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7159B78-59C5-46F8-BD4D-2A63A50B984D}"/>
              </a:ext>
            </a:extLst>
          </p:cNvPr>
          <p:cNvSpPr/>
          <p:nvPr/>
        </p:nvSpPr>
        <p:spPr>
          <a:xfrm>
            <a:off x="7887034" y="2770853"/>
            <a:ext cx="1508988" cy="457200"/>
          </a:xfrm>
          <a:prstGeom prst="rect">
            <a:avLst/>
          </a:prstGeom>
          <a:solidFill>
            <a:srgbClr val="7A62A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ic / Clip optimizer</a:t>
            </a:r>
          </a:p>
        </p:txBody>
      </p:sp>
    </p:spTree>
    <p:extLst>
      <p:ext uri="{BB962C8B-B14F-4D97-AF65-F5344CB8AC3E}">
        <p14:creationId xmlns:p14="http://schemas.microsoft.com/office/powerpoint/2010/main" val="3686944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3D4605-292F-49F7-90F3-78A66F72A0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ftersales Landscape</a:t>
            </a:r>
          </a:p>
        </p:txBody>
      </p:sp>
      <p:sp>
        <p:nvSpPr>
          <p:cNvPr id="21" name="Rectangle: Single Corner Snipped 20">
            <a:extLst>
              <a:ext uri="{FF2B5EF4-FFF2-40B4-BE49-F238E27FC236}">
                <a16:creationId xmlns:a16="http://schemas.microsoft.com/office/drawing/2014/main" id="{3E6065D4-D618-471D-8BBE-2E5D05D1B129}"/>
              </a:ext>
            </a:extLst>
          </p:cNvPr>
          <p:cNvSpPr/>
          <p:nvPr/>
        </p:nvSpPr>
        <p:spPr>
          <a:xfrm>
            <a:off x="11017" y="5955847"/>
            <a:ext cx="1663547" cy="476316"/>
          </a:xfrm>
          <a:prstGeom prst="snip1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400" b="1" spc="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GMENT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84F3AD5-C870-4945-A39E-9FC6F97031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843" y="474789"/>
            <a:ext cx="11090314" cy="542705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D610828-3FEA-4CC6-9066-29B09BC635D3}"/>
              </a:ext>
            </a:extLst>
          </p:cNvPr>
          <p:cNvSpPr txBox="1"/>
          <p:nvPr/>
        </p:nvSpPr>
        <p:spPr>
          <a:xfrm>
            <a:off x="1784732" y="6009339"/>
            <a:ext cx="97389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res &amp; Wheels | Parts  &amp; Accessories | Breakdown | Damage Repair | Maintenance Services  </a:t>
            </a:r>
          </a:p>
        </p:txBody>
      </p:sp>
    </p:spTree>
    <p:extLst>
      <p:ext uri="{BB962C8B-B14F-4D97-AF65-F5344CB8AC3E}">
        <p14:creationId xmlns:p14="http://schemas.microsoft.com/office/powerpoint/2010/main" val="2553048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tangle 92">
            <a:extLst>
              <a:ext uri="{FF2B5EF4-FFF2-40B4-BE49-F238E27FC236}">
                <a16:creationId xmlns:a16="http://schemas.microsoft.com/office/drawing/2014/main" id="{4753CBE1-50BD-4008-9763-9C602B2BAFD6}"/>
              </a:ext>
            </a:extLst>
          </p:cNvPr>
          <p:cNvSpPr/>
          <p:nvPr/>
        </p:nvSpPr>
        <p:spPr>
          <a:xfrm>
            <a:off x="1358408" y="690383"/>
            <a:ext cx="9650780" cy="5486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B7F4B905-4DCC-41CE-9B6A-6B9C6FFBFBEB}"/>
              </a:ext>
            </a:extLst>
          </p:cNvPr>
          <p:cNvCxnSpPr>
            <a:cxnSpLocks/>
          </p:cNvCxnSpPr>
          <p:nvPr/>
        </p:nvCxnSpPr>
        <p:spPr>
          <a:xfrm flipV="1">
            <a:off x="6278793" y="3201744"/>
            <a:ext cx="4913753" cy="43298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headEnd type="triangle" w="med" len="med"/>
            <a:tailEnd type="triangl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E73BAF09-C663-4011-9BD3-112130D76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656" y="3186"/>
            <a:ext cx="8484600" cy="450648"/>
          </a:xfrm>
        </p:spPr>
        <p:txBody>
          <a:bodyPr/>
          <a:lstStyle/>
          <a:p>
            <a:r>
              <a:rPr lang="en-IN" dirty="0"/>
              <a:t>Functional Overview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8CC01AE-65F2-4F3A-89F5-C1D43AE609DD}"/>
              </a:ext>
            </a:extLst>
          </p:cNvPr>
          <p:cNvSpPr/>
          <p:nvPr/>
        </p:nvSpPr>
        <p:spPr>
          <a:xfrm>
            <a:off x="1439456" y="2808744"/>
            <a:ext cx="9418320" cy="12801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DA17259-D643-4E68-98C9-C1F23A810509}"/>
              </a:ext>
            </a:extLst>
          </p:cNvPr>
          <p:cNvSpPr/>
          <p:nvPr/>
        </p:nvSpPr>
        <p:spPr>
          <a:xfrm>
            <a:off x="1473665" y="3016387"/>
            <a:ext cx="2286000" cy="457200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M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937ECFA-3DF7-45D2-B1D4-E7FC7B63EA27}"/>
              </a:ext>
            </a:extLst>
          </p:cNvPr>
          <p:cNvCxnSpPr/>
          <p:nvPr/>
        </p:nvCxnSpPr>
        <p:spPr>
          <a:xfrm>
            <a:off x="330631" y="2731929"/>
            <a:ext cx="10512329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an 133">
            <a:extLst>
              <a:ext uri="{FF2B5EF4-FFF2-40B4-BE49-F238E27FC236}">
                <a16:creationId xmlns:a16="http://schemas.microsoft.com/office/drawing/2014/main" id="{03E5BCE8-AAC8-41B8-9A99-6F0C89F8843D}"/>
              </a:ext>
            </a:extLst>
          </p:cNvPr>
          <p:cNvSpPr/>
          <p:nvPr/>
        </p:nvSpPr>
        <p:spPr>
          <a:xfrm>
            <a:off x="11192546" y="2468814"/>
            <a:ext cx="906558" cy="1090723"/>
          </a:xfrm>
          <a:prstGeom prst="can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base</a:t>
            </a:r>
          </a:p>
        </p:txBody>
      </p:sp>
      <p:cxnSp>
        <p:nvCxnSpPr>
          <p:cNvPr id="28" name="Elbow Connector 134">
            <a:extLst>
              <a:ext uri="{FF2B5EF4-FFF2-40B4-BE49-F238E27FC236}">
                <a16:creationId xmlns:a16="http://schemas.microsoft.com/office/drawing/2014/main" id="{6B0788D2-0439-412E-8C3D-D1BDA0210C81}"/>
              </a:ext>
            </a:extLst>
          </p:cNvPr>
          <p:cNvCxnSpPr>
            <a:cxnSpLocks/>
            <a:stCxn id="87" idx="3"/>
            <a:endCxn id="27" idx="1"/>
          </p:cNvCxnSpPr>
          <p:nvPr/>
        </p:nvCxnSpPr>
        <p:spPr>
          <a:xfrm>
            <a:off x="10926914" y="1720839"/>
            <a:ext cx="718911" cy="747975"/>
          </a:xfrm>
          <a:prstGeom prst="bentConnector2">
            <a:avLst/>
          </a:prstGeom>
          <a:ln>
            <a:solidFill>
              <a:schemeClr val="bg2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136">
            <a:extLst>
              <a:ext uri="{FF2B5EF4-FFF2-40B4-BE49-F238E27FC236}">
                <a16:creationId xmlns:a16="http://schemas.microsoft.com/office/drawing/2014/main" id="{2D0BBE7D-088E-43B7-83F9-6562B41A5DE9}"/>
              </a:ext>
            </a:extLst>
          </p:cNvPr>
          <p:cNvCxnSpPr>
            <a:cxnSpLocks/>
            <a:endCxn id="27" idx="3"/>
          </p:cNvCxnSpPr>
          <p:nvPr/>
        </p:nvCxnSpPr>
        <p:spPr>
          <a:xfrm flipV="1">
            <a:off x="10254457" y="3559537"/>
            <a:ext cx="1391368" cy="1297494"/>
          </a:xfrm>
          <a:prstGeom prst="bentConnector2">
            <a:avLst/>
          </a:prstGeom>
          <a:ln>
            <a:solidFill>
              <a:schemeClr val="bg2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B1113856-E59F-4FC2-B82B-178C4D11753A}"/>
              </a:ext>
            </a:extLst>
          </p:cNvPr>
          <p:cNvSpPr/>
          <p:nvPr/>
        </p:nvSpPr>
        <p:spPr>
          <a:xfrm>
            <a:off x="3826749" y="3016387"/>
            <a:ext cx="2286000" cy="457200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Marketing platform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45E2DA79-822C-4295-A5CE-77219F99ACE0}"/>
              </a:ext>
            </a:extLst>
          </p:cNvPr>
          <p:cNvSpPr/>
          <p:nvPr/>
        </p:nvSpPr>
        <p:spPr>
          <a:xfrm>
            <a:off x="6179833" y="3016387"/>
            <a:ext cx="2286000" cy="457200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dirty="0">
                <a:solidFill>
                  <a:sysClr val="windowText" lastClr="000000"/>
                </a:solidFill>
              </a:rPr>
              <a:t>Dealer Quotation / Partnership Platform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26" name="Picture 2" descr="http://fleetmastersoftware.com/assets/img/logo_header.png">
            <a:extLst>
              <a:ext uri="{FF2B5EF4-FFF2-40B4-BE49-F238E27FC236}">
                <a16:creationId xmlns:a16="http://schemas.microsoft.com/office/drawing/2014/main" id="{D18CEF21-968F-4DC5-809A-A7BA4362F1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2888" y="5699718"/>
            <a:ext cx="1724641" cy="405291"/>
          </a:xfrm>
          <a:prstGeom prst="rect">
            <a:avLst/>
          </a:prstGeom>
          <a:solidFill>
            <a:schemeClr val="bg1"/>
          </a:solidFill>
        </p:spPr>
      </p:pic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4755C450-0A8A-4996-BF84-69BD03C48391}"/>
              </a:ext>
            </a:extLst>
          </p:cNvPr>
          <p:cNvCxnSpPr>
            <a:cxnSpLocks/>
          </p:cNvCxnSpPr>
          <p:nvPr/>
        </p:nvCxnSpPr>
        <p:spPr>
          <a:xfrm>
            <a:off x="330631" y="4141993"/>
            <a:ext cx="1050964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F3EE9A63-981D-4E08-AB0F-70EC20C30CEF}"/>
              </a:ext>
            </a:extLst>
          </p:cNvPr>
          <p:cNvSpPr/>
          <p:nvPr/>
        </p:nvSpPr>
        <p:spPr>
          <a:xfrm>
            <a:off x="2576619" y="4399301"/>
            <a:ext cx="7202740" cy="13251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24711F5C-F237-45DA-BC93-B67E56D8D126}"/>
              </a:ext>
            </a:extLst>
          </p:cNvPr>
          <p:cNvSpPr/>
          <p:nvPr/>
        </p:nvSpPr>
        <p:spPr>
          <a:xfrm>
            <a:off x="2719114" y="4458196"/>
            <a:ext cx="1681236" cy="36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hicle management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BE25812D-4BB4-40BA-AD1D-CBFB65862B4C}"/>
              </a:ext>
            </a:extLst>
          </p:cNvPr>
          <p:cNvSpPr/>
          <p:nvPr/>
        </p:nvSpPr>
        <p:spPr>
          <a:xfrm>
            <a:off x="4466288" y="4458196"/>
            <a:ext cx="1681236" cy="36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management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253E6833-48D8-4BD6-B85E-61E827004ACA}"/>
              </a:ext>
            </a:extLst>
          </p:cNvPr>
          <p:cNvSpPr/>
          <p:nvPr/>
        </p:nvSpPr>
        <p:spPr>
          <a:xfrm>
            <a:off x="6213461" y="4454790"/>
            <a:ext cx="1681236" cy="36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iver management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0F920734-9F27-4A25-B3C8-99CF40BF89B1}"/>
              </a:ext>
            </a:extLst>
          </p:cNvPr>
          <p:cNvSpPr/>
          <p:nvPr/>
        </p:nvSpPr>
        <p:spPr>
          <a:xfrm>
            <a:off x="6212324" y="4889485"/>
            <a:ext cx="1681236" cy="36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bsidiary/ partner management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13738A04-9ABB-4EF3-950C-0CEAFE7596ED}"/>
              </a:ext>
            </a:extLst>
          </p:cNvPr>
          <p:cNvSpPr/>
          <p:nvPr/>
        </p:nvSpPr>
        <p:spPr>
          <a:xfrm>
            <a:off x="7972027" y="4454790"/>
            <a:ext cx="1681236" cy="36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ck &amp; trace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7CF94010-4BD5-4CAD-A093-F1D63F13B5AF}"/>
              </a:ext>
            </a:extLst>
          </p:cNvPr>
          <p:cNvSpPr/>
          <p:nvPr/>
        </p:nvSpPr>
        <p:spPr>
          <a:xfrm>
            <a:off x="2718413" y="4889485"/>
            <a:ext cx="1681236" cy="36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fers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40DC72F0-7EF2-4F2D-8BC8-D46B3EC0BD3C}"/>
              </a:ext>
            </a:extLst>
          </p:cNvPr>
          <p:cNvSpPr/>
          <p:nvPr/>
        </p:nvSpPr>
        <p:spPr>
          <a:xfrm>
            <a:off x="2718413" y="5320773"/>
            <a:ext cx="1681236" cy="36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ning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1D5FF865-426D-4CB4-A07C-C55FF533439D}"/>
              </a:ext>
            </a:extLst>
          </p:cNvPr>
          <p:cNvSpPr/>
          <p:nvPr/>
        </p:nvSpPr>
        <p:spPr>
          <a:xfrm>
            <a:off x="4465586" y="5320773"/>
            <a:ext cx="1681236" cy="36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 order management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C4B68B30-EA1A-4502-BA36-A2A163538566}"/>
              </a:ext>
            </a:extLst>
          </p:cNvPr>
          <p:cNvSpPr/>
          <p:nvPr/>
        </p:nvSpPr>
        <p:spPr>
          <a:xfrm>
            <a:off x="6212760" y="5313028"/>
            <a:ext cx="1681236" cy="36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oicing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146BFF50-EF74-4483-8BD6-EA83204B9AC4}"/>
              </a:ext>
            </a:extLst>
          </p:cNvPr>
          <p:cNvSpPr/>
          <p:nvPr/>
        </p:nvSpPr>
        <p:spPr>
          <a:xfrm>
            <a:off x="7959933" y="5313028"/>
            <a:ext cx="1681236" cy="36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st management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669C61A0-AFC2-4F5A-B3D9-D62E544993B8}"/>
              </a:ext>
            </a:extLst>
          </p:cNvPr>
          <p:cNvSpPr/>
          <p:nvPr/>
        </p:nvSpPr>
        <p:spPr>
          <a:xfrm>
            <a:off x="7959933" y="4889485"/>
            <a:ext cx="1681236" cy="36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orting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E8BA9DFA-7093-45A2-A324-62C761A270E9}"/>
              </a:ext>
            </a:extLst>
          </p:cNvPr>
          <p:cNvSpPr/>
          <p:nvPr/>
        </p:nvSpPr>
        <p:spPr>
          <a:xfrm>
            <a:off x="4465586" y="4889485"/>
            <a:ext cx="1681236" cy="36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gration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E94089-8E89-4164-9C83-0C102B480B3C}"/>
              </a:ext>
            </a:extLst>
          </p:cNvPr>
          <p:cNvSpPr/>
          <p:nvPr/>
        </p:nvSpPr>
        <p:spPr>
          <a:xfrm>
            <a:off x="2474638" y="4280679"/>
            <a:ext cx="7388517" cy="1802483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C172B4B7-1209-4431-AB04-C51E50D09495}"/>
              </a:ext>
            </a:extLst>
          </p:cNvPr>
          <p:cNvSpPr/>
          <p:nvPr/>
        </p:nvSpPr>
        <p:spPr>
          <a:xfrm>
            <a:off x="1417154" y="760719"/>
            <a:ext cx="9509760" cy="1920240"/>
          </a:xfrm>
          <a:prstGeom prst="rect">
            <a:avLst/>
          </a:prstGeom>
          <a:solidFill>
            <a:schemeClr val="accent1">
              <a:lumMod val="60000"/>
              <a:lumOff val="40000"/>
              <a:alpha val="72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A2650AEE-8C87-43BA-BF5A-08C86C206214}"/>
              </a:ext>
            </a:extLst>
          </p:cNvPr>
          <p:cNvSpPr/>
          <p:nvPr/>
        </p:nvSpPr>
        <p:spPr>
          <a:xfrm>
            <a:off x="3838662" y="867389"/>
            <a:ext cx="2286000" cy="914400"/>
          </a:xfrm>
          <a:prstGeom prst="rect">
            <a:avLst/>
          </a:prstGeom>
          <a:solidFill>
            <a:srgbClr val="F27983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 anchorCtr="1"/>
          <a:lstStyle/>
          <a:p>
            <a:pPr lvl="0" algn="ctr">
              <a:defRPr/>
            </a:pPr>
            <a:r>
              <a:rPr lang="en-US" sz="1400" b="1" dirty="0">
                <a:solidFill>
                  <a:schemeClr val="bg1"/>
                </a:solidFill>
              </a:rPr>
              <a:t>APP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bg1"/>
                </a:solidFill>
              </a:rPr>
              <a:t> (Pre Lease/Rental Process)</a:t>
            </a:r>
          </a:p>
          <a:p>
            <a:pPr algn="ctr">
              <a:defRPr/>
            </a:pPr>
            <a:r>
              <a:rPr lang="en-US" sz="1200" dirty="0">
                <a:solidFill>
                  <a:schemeClr val="bg1"/>
                </a:solidFill>
              </a:rPr>
              <a:t>Operational Lease | Private Lease | Mobility products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743458A-5CD3-464F-9C2C-ACD538DEED3E}"/>
              </a:ext>
            </a:extLst>
          </p:cNvPr>
          <p:cNvSpPr/>
          <p:nvPr/>
        </p:nvSpPr>
        <p:spPr>
          <a:xfrm>
            <a:off x="6220959" y="867389"/>
            <a:ext cx="2286000" cy="914400"/>
          </a:xfrm>
          <a:prstGeom prst="rect">
            <a:avLst/>
          </a:prstGeom>
          <a:solidFill>
            <a:srgbClr val="A6799F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 anchorCtr="1"/>
          <a:lstStyle/>
          <a:p>
            <a:pPr lvl="0" algn="ctr">
              <a:defRPr/>
            </a:pPr>
            <a:r>
              <a:rPr lang="en-US" sz="1400" b="1" dirty="0">
                <a:solidFill>
                  <a:schemeClr val="bg1"/>
                </a:solidFill>
              </a:rPr>
              <a:t>My Lease Portal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bg1"/>
                </a:solidFill>
              </a:rPr>
              <a:t>(During Lease process)</a:t>
            </a:r>
          </a:p>
          <a:p>
            <a:pPr lvl="0" algn="ctr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vate Lease | Captive Lease | Fleet Management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7918D4FC-FB9D-4792-B962-C7635312C116}"/>
              </a:ext>
            </a:extLst>
          </p:cNvPr>
          <p:cNvSpPr/>
          <p:nvPr/>
        </p:nvSpPr>
        <p:spPr>
          <a:xfrm>
            <a:off x="8603256" y="867389"/>
            <a:ext cx="2286000" cy="914400"/>
          </a:xfrm>
          <a:prstGeom prst="rect">
            <a:avLst/>
          </a:prstGeom>
          <a:solidFill>
            <a:srgbClr val="A6799F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 anchorCtr="1"/>
          <a:lstStyle/>
          <a:p>
            <a:pPr lvl="0" algn="ctr">
              <a:defRPr/>
            </a:pPr>
            <a:r>
              <a:rPr lang="en-US" sz="1400" b="1" dirty="0">
                <a:solidFill>
                  <a:schemeClr val="bg1"/>
                </a:solidFill>
              </a:rPr>
              <a:t>APP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bg1"/>
                </a:solidFill>
              </a:rPr>
              <a:t> (During Lease process)</a:t>
            </a:r>
          </a:p>
          <a:p>
            <a:pPr lvl="0" algn="ctr">
              <a:defRPr/>
            </a:pPr>
            <a:r>
              <a:rPr lang="en-US" sz="1200" dirty="0">
                <a:solidFill>
                  <a:schemeClr val="bg1"/>
                </a:solidFill>
              </a:rPr>
              <a:t>Private Lease | Captive Lease | Fleet Management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030D5C78-F2A3-4653-8C78-08D25D59EBB3}"/>
              </a:ext>
            </a:extLst>
          </p:cNvPr>
          <p:cNvSpPr/>
          <p:nvPr/>
        </p:nvSpPr>
        <p:spPr>
          <a:xfrm>
            <a:off x="1456365" y="867389"/>
            <a:ext cx="2286000" cy="914400"/>
          </a:xfrm>
          <a:prstGeom prst="rect">
            <a:avLst/>
          </a:prstGeom>
          <a:solidFill>
            <a:srgbClr val="F27983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tal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re Lease / Rental process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bg1"/>
                </a:solidFill>
                <a:latin typeface="Calibri" panose="020F0502020204030204"/>
              </a:rPr>
              <a:t>Operational Lease | Private Lease | Mobility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FD44018-14BC-4806-8942-42D40E0F993C}"/>
              </a:ext>
            </a:extLst>
          </p:cNvPr>
          <p:cNvSpPr/>
          <p:nvPr/>
        </p:nvSpPr>
        <p:spPr>
          <a:xfrm>
            <a:off x="8532918" y="3016387"/>
            <a:ext cx="2286000" cy="457200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IN" sz="1400" dirty="0">
                <a:solidFill>
                  <a:prstClr val="black"/>
                </a:solidFill>
              </a:rPr>
              <a:t>SMR / ROB – Car &amp; Bike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D8C63F69-153F-446F-8904-41AE691F48C3}"/>
              </a:ext>
            </a:extLst>
          </p:cNvPr>
          <p:cNvSpPr/>
          <p:nvPr/>
        </p:nvSpPr>
        <p:spPr>
          <a:xfrm>
            <a:off x="3826749" y="3531442"/>
            <a:ext cx="2286000" cy="457200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dirty="0">
                <a:solidFill>
                  <a:sysClr val="windowText" lastClr="000000"/>
                </a:solidFill>
              </a:rPr>
              <a:t>Data warehouse, BI &amp; Analytics Tool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81206785-2A1C-4D38-9C4B-7D7C07A630F7}"/>
              </a:ext>
            </a:extLst>
          </p:cNvPr>
          <p:cNvSpPr/>
          <p:nvPr/>
        </p:nvSpPr>
        <p:spPr>
          <a:xfrm>
            <a:off x="6179833" y="3531442"/>
            <a:ext cx="2286000" cy="457200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dirty="0">
                <a:solidFill>
                  <a:sysClr val="windowText" lastClr="000000"/>
                </a:solidFill>
              </a:rPr>
              <a:t>Dynamic Pricing Engin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5BCA4F2-B9C1-4928-A783-7B40DB89E167}"/>
              </a:ext>
            </a:extLst>
          </p:cNvPr>
          <p:cNvSpPr/>
          <p:nvPr/>
        </p:nvSpPr>
        <p:spPr>
          <a:xfrm>
            <a:off x="2684780" y="1920480"/>
            <a:ext cx="2286000" cy="548640"/>
          </a:xfrm>
          <a:prstGeom prst="rect">
            <a:avLst/>
          </a:prstGeom>
          <a:solidFill>
            <a:srgbClr val="94A3A4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dirty="0">
                <a:solidFill>
                  <a:sysClr val="windowText" lastClr="000000"/>
                </a:solidFill>
              </a:rPr>
              <a:t>Loyalty based apps/portal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CFC18B61-F639-418E-A831-F5612129DC4B}"/>
              </a:ext>
            </a:extLst>
          </p:cNvPr>
          <p:cNvSpPr/>
          <p:nvPr/>
        </p:nvSpPr>
        <p:spPr>
          <a:xfrm>
            <a:off x="5037864" y="1920480"/>
            <a:ext cx="2286000" cy="548640"/>
          </a:xfrm>
          <a:prstGeom prst="rect">
            <a:avLst/>
          </a:prstGeom>
          <a:solidFill>
            <a:srgbClr val="94A3A4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dirty="0">
                <a:solidFill>
                  <a:sysClr val="windowText" lastClr="000000"/>
                </a:solidFill>
              </a:rPr>
              <a:t>Telematics Applica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C738F41-78E3-4C8B-943B-4C9470176ED6}"/>
              </a:ext>
            </a:extLst>
          </p:cNvPr>
          <p:cNvSpPr/>
          <p:nvPr/>
        </p:nvSpPr>
        <p:spPr>
          <a:xfrm>
            <a:off x="7390948" y="1920480"/>
            <a:ext cx="2286000" cy="548640"/>
          </a:xfrm>
          <a:prstGeom prst="rect">
            <a:avLst/>
          </a:prstGeom>
          <a:solidFill>
            <a:srgbClr val="94A3A4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dirty="0">
                <a:solidFill>
                  <a:sysClr val="windowText" lastClr="000000"/>
                </a:solidFill>
              </a:rPr>
              <a:t>Remarketing Portal </a:t>
            </a:r>
          </a:p>
          <a:p>
            <a:pPr lvl="0" algn="ctr">
              <a:defRPr/>
            </a:pPr>
            <a:r>
              <a:rPr lang="en-US" sz="1400" dirty="0">
                <a:solidFill>
                  <a:sysClr val="windowText" lastClr="000000"/>
                </a:solidFill>
              </a:rPr>
              <a:t>(After Lease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15E556D-CFB9-40D7-B564-EB95847FD163}"/>
              </a:ext>
            </a:extLst>
          </p:cNvPr>
          <p:cNvGrpSpPr/>
          <p:nvPr/>
        </p:nvGrpSpPr>
        <p:grpSpPr>
          <a:xfrm>
            <a:off x="419126" y="1021487"/>
            <a:ext cx="731520" cy="1153734"/>
            <a:chOff x="168112" y="954581"/>
            <a:chExt cx="731520" cy="115373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005B968-9A51-45AB-A5BB-E6DD83F25CA6}"/>
                </a:ext>
              </a:extLst>
            </p:cNvPr>
            <p:cNvSpPr txBox="1"/>
            <p:nvPr/>
          </p:nvSpPr>
          <p:spPr>
            <a:xfrm>
              <a:off x="168112" y="1523540"/>
              <a:ext cx="73152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ront-Office</a:t>
              </a:r>
            </a:p>
          </p:txBody>
        </p:sp>
        <p:pic>
          <p:nvPicPr>
            <p:cNvPr id="10" name="Picture 2" descr="Image result for customer png icon">
              <a:extLst>
                <a:ext uri="{FF2B5EF4-FFF2-40B4-BE49-F238E27FC236}">
                  <a16:creationId xmlns:a16="http://schemas.microsoft.com/office/drawing/2014/main" id="{6F344871-33DC-4370-8A86-7BA5B0C669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3832" y="954581"/>
              <a:ext cx="640080" cy="640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F0B8908-3B52-4636-A91E-F7134989A3D1}"/>
              </a:ext>
            </a:extLst>
          </p:cNvPr>
          <p:cNvGrpSpPr/>
          <p:nvPr/>
        </p:nvGrpSpPr>
        <p:grpSpPr>
          <a:xfrm>
            <a:off x="380848" y="2889279"/>
            <a:ext cx="808077" cy="1120413"/>
            <a:chOff x="230309" y="2788920"/>
            <a:chExt cx="808077" cy="1120413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B7AFDA0-95B9-44BB-BAF4-F2EBA162CCBA}"/>
                </a:ext>
              </a:extLst>
            </p:cNvPr>
            <p:cNvSpPr txBox="1"/>
            <p:nvPr/>
          </p:nvSpPr>
          <p:spPr>
            <a:xfrm>
              <a:off x="230309" y="3324558"/>
              <a:ext cx="80807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d-Office</a:t>
              </a:r>
            </a:p>
          </p:txBody>
        </p:sp>
        <p:pic>
          <p:nvPicPr>
            <p:cNvPr id="1028" name="Picture 4" descr="Image result for mid office png icon">
              <a:extLst>
                <a:ext uri="{FF2B5EF4-FFF2-40B4-BE49-F238E27FC236}">
                  <a16:creationId xmlns:a16="http://schemas.microsoft.com/office/drawing/2014/main" id="{3331EA03-AC4B-4DDD-8D98-7AD10294E85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307" y="2788920"/>
              <a:ext cx="640080" cy="640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A3B6980-600B-4C0F-BE98-FC28CFA82ED8}"/>
              </a:ext>
            </a:extLst>
          </p:cNvPr>
          <p:cNvGrpSpPr/>
          <p:nvPr/>
        </p:nvGrpSpPr>
        <p:grpSpPr>
          <a:xfrm>
            <a:off x="380848" y="4821427"/>
            <a:ext cx="808077" cy="1134667"/>
            <a:chOff x="230309" y="4386530"/>
            <a:chExt cx="808077" cy="1134667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628E2C2-851C-4C12-AEDF-94201C0133C0}"/>
                </a:ext>
              </a:extLst>
            </p:cNvPr>
            <p:cNvSpPr txBox="1"/>
            <p:nvPr/>
          </p:nvSpPr>
          <p:spPr>
            <a:xfrm>
              <a:off x="230309" y="4936422"/>
              <a:ext cx="80807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ack-Office</a:t>
              </a:r>
            </a:p>
          </p:txBody>
        </p:sp>
        <p:pic>
          <p:nvPicPr>
            <p:cNvPr id="1030" name="Picture 6" descr="Image result for admin png icon">
              <a:extLst>
                <a:ext uri="{FF2B5EF4-FFF2-40B4-BE49-F238E27FC236}">
                  <a16:creationId xmlns:a16="http://schemas.microsoft.com/office/drawing/2014/main" id="{22C9BFD2-C0D0-4407-8AA7-548A6A43D7A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307" y="4386530"/>
              <a:ext cx="640080" cy="640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84819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3AA38E7-8FA8-4ED4-B005-FFD1EFB24DBA}"/>
              </a:ext>
            </a:extLst>
          </p:cNvPr>
          <p:cNvGrpSpPr/>
          <p:nvPr/>
        </p:nvGrpSpPr>
        <p:grpSpPr>
          <a:xfrm>
            <a:off x="711997" y="426738"/>
            <a:ext cx="10712719" cy="3219487"/>
            <a:chOff x="711997" y="528336"/>
            <a:chExt cx="10712719" cy="3219487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F1B2413F-6F30-40E9-9400-4BED2CCEC5C5}"/>
                </a:ext>
              </a:extLst>
            </p:cNvPr>
            <p:cNvSpPr/>
            <p:nvPr/>
          </p:nvSpPr>
          <p:spPr>
            <a:xfrm>
              <a:off x="7176537" y="1114897"/>
              <a:ext cx="4248179" cy="2632926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F8332A57-BFE8-4FAE-A3C8-97CBC3AB38B4}"/>
                </a:ext>
              </a:extLst>
            </p:cNvPr>
            <p:cNvGrpSpPr/>
            <p:nvPr/>
          </p:nvGrpSpPr>
          <p:grpSpPr>
            <a:xfrm>
              <a:off x="7814592" y="2377961"/>
              <a:ext cx="2945037" cy="1280289"/>
              <a:chOff x="3828129" y="1693902"/>
              <a:chExt cx="2945037" cy="1280289"/>
            </a:xfrm>
          </p:grpSpPr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9DE1EE0-3663-4F22-AEE7-640D59775475}"/>
                  </a:ext>
                </a:extLst>
              </p:cNvPr>
              <p:cNvSpPr/>
              <p:nvPr/>
            </p:nvSpPr>
            <p:spPr>
              <a:xfrm>
                <a:off x="3828129" y="1693902"/>
                <a:ext cx="2945037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" panose="02000504050000020004" pitchFamily="2" charset="0"/>
                    <a:ea typeface="+mn-ea"/>
                    <a:cs typeface="+mn-cs"/>
                  </a:rPr>
                  <a:t>PROJECT DEVELOPMENT </a:t>
                </a: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66C7814B-97A0-41C3-B419-6BD29B3281C4}"/>
                  </a:ext>
                </a:extLst>
              </p:cNvPr>
              <p:cNvSpPr/>
              <p:nvPr/>
            </p:nvSpPr>
            <p:spPr>
              <a:xfrm>
                <a:off x="3828129" y="2020084"/>
                <a:ext cx="2541080" cy="95410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" panose="02000504050000020004" pitchFamily="2" charset="0"/>
                    <a:ea typeface="+mn-ea"/>
                    <a:cs typeface="+mn-cs"/>
                  </a:rPr>
                  <a:t>RA FRAMING, DESIGN 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" panose="02000504050000020004" pitchFamily="2" charset="0"/>
                    <a:ea typeface="+mn-ea"/>
                    <a:cs typeface="+mn-cs"/>
                  </a:rPr>
                  <a:t>IMPLEMENTATION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" panose="02000504050000020004" pitchFamily="2" charset="0"/>
                    <a:ea typeface="+mn-ea"/>
                    <a:cs typeface="+mn-cs"/>
                  </a:rPr>
                  <a:t>TESTING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" panose="02000504050000020004" pitchFamily="2" charset="0"/>
                    <a:ea typeface="+mn-ea"/>
                    <a:cs typeface="+mn-cs"/>
                  </a:rPr>
                  <a:t>DEPLOYMENT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3320471-DD3E-43FC-972B-9EBE454E4649}"/>
                </a:ext>
              </a:extLst>
            </p:cNvPr>
            <p:cNvGrpSpPr/>
            <p:nvPr/>
          </p:nvGrpSpPr>
          <p:grpSpPr>
            <a:xfrm>
              <a:off x="7814592" y="1453451"/>
              <a:ext cx="2922595" cy="888519"/>
              <a:chOff x="7903254" y="1693902"/>
              <a:chExt cx="2852537" cy="793374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1C1C62EB-31A9-4506-8694-26A2DB6A4E27}"/>
                  </a:ext>
                </a:extLst>
              </p:cNvPr>
              <p:cNvSpPr/>
              <p:nvPr/>
            </p:nvSpPr>
            <p:spPr>
              <a:xfrm>
                <a:off x="7903254" y="1693902"/>
                <a:ext cx="2852537" cy="3023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" panose="02000504050000020004" pitchFamily="2" charset="0"/>
                    <a:ea typeface="+mn-ea"/>
                    <a:cs typeface="+mn-cs"/>
                  </a:rPr>
                  <a:t>PROJECT ENHANCEMENT</a:t>
                </a: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54797DE9-0172-49E9-B3B2-9C502169FD4F}"/>
                  </a:ext>
                </a:extLst>
              </p:cNvPr>
              <p:cNvSpPr/>
              <p:nvPr/>
            </p:nvSpPr>
            <p:spPr>
              <a:xfrm>
                <a:off x="7903254" y="2020084"/>
                <a:ext cx="2807416" cy="46719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" panose="02000504050000020004" pitchFamily="2" charset="0"/>
                    <a:ea typeface="+mn-ea"/>
                    <a:cs typeface="+mn-cs"/>
                  </a:rPr>
                  <a:t>TECHNICAL EVOLUTION 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" panose="02000504050000020004" pitchFamily="2" charset="0"/>
                    <a:ea typeface="+mn-ea"/>
                    <a:cs typeface="+mn-cs"/>
                  </a:rPr>
                  <a:t>FUNCTIONAL EVOLUTION</a:t>
                </a:r>
              </a:p>
            </p:txBody>
          </p: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878F495-F185-4630-AA1F-7F5D7579705E}"/>
                </a:ext>
              </a:extLst>
            </p:cNvPr>
            <p:cNvSpPr txBox="1"/>
            <p:nvPr/>
          </p:nvSpPr>
          <p:spPr>
            <a:xfrm>
              <a:off x="7968399" y="958330"/>
              <a:ext cx="2638319" cy="338554"/>
            </a:xfrm>
            <a:prstGeom prst="rect">
              <a:avLst/>
            </a:prstGeom>
            <a:solidFill>
              <a:srgbClr val="FB5050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" panose="02000504050000020004" pitchFamily="2" charset="0"/>
                  <a:ea typeface="+mn-ea"/>
                  <a:cs typeface="+mn-cs"/>
                </a:rPr>
                <a:t>CHANGE SERVICES</a:t>
              </a:r>
            </a:p>
          </p:txBody>
        </p:sp>
        <p:pic>
          <p:nvPicPr>
            <p:cNvPr id="1032" name="Picture 8" descr="Related image">
              <a:extLst>
                <a:ext uri="{FF2B5EF4-FFF2-40B4-BE49-F238E27FC236}">
                  <a16:creationId xmlns:a16="http://schemas.microsoft.com/office/drawing/2014/main" id="{529F700F-BE10-4A13-8F00-5ABD19DD67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42957" y="528336"/>
              <a:ext cx="1199192" cy="11887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72D9976-6E35-4822-9188-4D4147300E64}"/>
                </a:ext>
              </a:extLst>
            </p:cNvPr>
            <p:cNvSpPr/>
            <p:nvPr/>
          </p:nvSpPr>
          <p:spPr>
            <a:xfrm>
              <a:off x="1200864" y="1114897"/>
              <a:ext cx="4248179" cy="2632926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7D69FED-0814-434F-AAB4-E07D5D0804FD}"/>
                </a:ext>
              </a:extLst>
            </p:cNvPr>
            <p:cNvSpPr/>
            <p:nvPr/>
          </p:nvSpPr>
          <p:spPr>
            <a:xfrm>
              <a:off x="1761784" y="3153040"/>
              <a:ext cx="3373046" cy="215444"/>
            </a:xfrm>
            <a:prstGeom prst="rect">
              <a:avLst/>
            </a:prstGeom>
          </p:spPr>
          <p:txBody>
            <a:bodyPr wrap="square" tIns="0" bIns="0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" panose="02000504050000020004" pitchFamily="2" charset="0"/>
                  <a:ea typeface="+mn-ea"/>
                  <a:cs typeface="+mn-cs"/>
                </a:rPr>
                <a:t>ADAPTIVE MAINTENANCE ETC.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1A89CE4-228C-497F-B0EB-85E64AF6DC07}"/>
                </a:ext>
              </a:extLst>
            </p:cNvPr>
            <p:cNvSpPr/>
            <p:nvPr/>
          </p:nvSpPr>
          <p:spPr>
            <a:xfrm>
              <a:off x="1761783" y="2810596"/>
              <a:ext cx="3186114" cy="215444"/>
            </a:xfrm>
            <a:prstGeom prst="rect">
              <a:avLst/>
            </a:prstGeom>
          </p:spPr>
          <p:txBody>
            <a:bodyPr wrap="square" tIns="0" bIns="0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" panose="02000504050000020004" pitchFamily="2" charset="0"/>
                  <a:ea typeface="+mn-ea"/>
                  <a:cs typeface="+mn-cs"/>
                </a:rPr>
                <a:t>CORRECTIVE MAINTENANCE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AD36783-5507-409C-B90E-B844F2B7AB8B}"/>
                </a:ext>
              </a:extLst>
            </p:cNvPr>
            <p:cNvSpPr/>
            <p:nvPr/>
          </p:nvSpPr>
          <p:spPr>
            <a:xfrm>
              <a:off x="1761783" y="2125708"/>
              <a:ext cx="3186114" cy="215444"/>
            </a:xfrm>
            <a:prstGeom prst="rect">
              <a:avLst/>
            </a:prstGeom>
          </p:spPr>
          <p:txBody>
            <a:bodyPr wrap="square" tIns="0" bIns="0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" panose="02000504050000020004" pitchFamily="2" charset="0"/>
                  <a:ea typeface="+mn-ea"/>
                  <a:cs typeface="+mn-cs"/>
                </a:rPr>
                <a:t>REQUEST MANAGEMENT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" panose="02000504050000020004" pitchFamily="2" charset="0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16A9C42-738A-4545-A9F9-043DE3636ED1}"/>
                </a:ext>
              </a:extLst>
            </p:cNvPr>
            <p:cNvSpPr/>
            <p:nvPr/>
          </p:nvSpPr>
          <p:spPr>
            <a:xfrm>
              <a:off x="1761783" y="1567821"/>
              <a:ext cx="3186114" cy="430887"/>
            </a:xfrm>
            <a:prstGeom prst="rect">
              <a:avLst/>
            </a:prstGeom>
          </p:spPr>
          <p:txBody>
            <a:bodyPr wrap="square" tIns="0" bIns="0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" panose="02000504050000020004" pitchFamily="2" charset="0"/>
                  <a:ea typeface="+mn-ea"/>
                  <a:cs typeface="+mn-cs"/>
                </a:rPr>
                <a:t>L1, L2 AND L3 SUPPORT ACTIVITIES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" panose="02000504050000020004" pitchFamily="2" charset="0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199B719-9C99-4A93-A2B6-8F0C44D57BA6}"/>
                </a:ext>
              </a:extLst>
            </p:cNvPr>
            <p:cNvSpPr/>
            <p:nvPr/>
          </p:nvSpPr>
          <p:spPr>
            <a:xfrm>
              <a:off x="1761783" y="2468152"/>
              <a:ext cx="3186114" cy="215444"/>
            </a:xfrm>
            <a:prstGeom prst="rect">
              <a:avLst/>
            </a:prstGeom>
          </p:spPr>
          <p:txBody>
            <a:bodyPr wrap="square" tIns="0" bIns="0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" panose="02000504050000020004" pitchFamily="2" charset="0"/>
                  <a:ea typeface="+mn-ea"/>
                  <a:cs typeface="+mn-cs"/>
                </a:rPr>
                <a:t>INCIDENT MANAGEMENT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4A7A32E-76EC-4716-9F03-545D8496CB58}"/>
                </a:ext>
              </a:extLst>
            </p:cNvPr>
            <p:cNvSpPr txBox="1"/>
            <p:nvPr/>
          </p:nvSpPr>
          <p:spPr>
            <a:xfrm>
              <a:off x="2295244" y="958330"/>
              <a:ext cx="2059418" cy="338554"/>
            </a:xfrm>
            <a:prstGeom prst="rect">
              <a:avLst/>
            </a:prstGeom>
            <a:solidFill>
              <a:srgbClr val="FB5050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600" b="1">
                  <a:latin typeface="Gotham" panose="02000504050000020004" pitchFamily="2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" panose="02000504050000020004" pitchFamily="2" charset="0"/>
                  <a:ea typeface="+mn-ea"/>
                  <a:cs typeface="+mn-cs"/>
                </a:rPr>
                <a:t>RUN SERVICES</a:t>
              </a:r>
            </a:p>
          </p:txBody>
        </p:sp>
        <p:pic>
          <p:nvPicPr>
            <p:cNvPr id="1034" name="Picture 10" descr="Image result for project development icon png">
              <a:extLst>
                <a:ext uri="{FF2B5EF4-FFF2-40B4-BE49-F238E27FC236}">
                  <a16:creationId xmlns:a16="http://schemas.microsoft.com/office/drawing/2014/main" id="{07F685E1-AD5F-43D1-B661-85A76D9889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997" y="528336"/>
              <a:ext cx="1097280" cy="10972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C5406FF-6659-467D-B648-5EC838B00457}"/>
              </a:ext>
            </a:extLst>
          </p:cNvPr>
          <p:cNvSpPr/>
          <p:nvPr/>
        </p:nvSpPr>
        <p:spPr>
          <a:xfrm>
            <a:off x="1278598" y="3982539"/>
            <a:ext cx="10334426" cy="234712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D7C70B1-CD3E-4406-AAC3-47CE4B7F70B3}"/>
              </a:ext>
            </a:extLst>
          </p:cNvPr>
          <p:cNvSpPr/>
          <p:nvPr/>
        </p:nvSpPr>
        <p:spPr>
          <a:xfrm>
            <a:off x="2389990" y="4875708"/>
            <a:ext cx="305945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" panose="02000504050000020004" pitchFamily="2" charset="0"/>
                <a:ea typeface="+mn-ea"/>
                <a:cs typeface="+mn-cs"/>
              </a:rPr>
              <a:t>SECURITY SERVIC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2C02354-698C-4870-8FC1-4185989DA892}"/>
              </a:ext>
            </a:extLst>
          </p:cNvPr>
          <p:cNvSpPr/>
          <p:nvPr/>
        </p:nvSpPr>
        <p:spPr>
          <a:xfrm>
            <a:off x="2394748" y="4378793"/>
            <a:ext cx="17910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" panose="02000504050000020004" pitchFamily="2" charset="0"/>
                <a:ea typeface="+mn-ea"/>
                <a:cs typeface="+mn-cs"/>
              </a:rPr>
              <a:t>QUALITY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60DE863-43CC-4579-B74C-EFFE1F9DA9FA}"/>
              </a:ext>
            </a:extLst>
          </p:cNvPr>
          <p:cNvSpPr/>
          <p:nvPr/>
        </p:nvSpPr>
        <p:spPr>
          <a:xfrm>
            <a:off x="5258519" y="4406672"/>
            <a:ext cx="258171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" panose="02000504050000020004" pitchFamily="2" charset="0"/>
                <a:ea typeface="+mn-ea"/>
                <a:cs typeface="+mn-cs"/>
              </a:rPr>
              <a:t>GOVERNANC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C76554A-7C89-4416-BF0B-326C4F063421}"/>
              </a:ext>
            </a:extLst>
          </p:cNvPr>
          <p:cNvSpPr/>
          <p:nvPr/>
        </p:nvSpPr>
        <p:spPr>
          <a:xfrm>
            <a:off x="7539014" y="4378793"/>
            <a:ext cx="393396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" panose="02000504050000020004" pitchFamily="2" charset="0"/>
                <a:ea typeface="+mn-ea"/>
                <a:cs typeface="+mn-cs"/>
              </a:rPr>
              <a:t>ENVIRONMENT MANAGEMENT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83F864C-9F72-46F6-A50B-B70064AC2237}"/>
              </a:ext>
            </a:extLst>
          </p:cNvPr>
          <p:cNvSpPr txBox="1"/>
          <p:nvPr/>
        </p:nvSpPr>
        <p:spPr>
          <a:xfrm>
            <a:off x="5205763" y="3777529"/>
            <a:ext cx="2977628" cy="338554"/>
          </a:xfrm>
          <a:prstGeom prst="rect">
            <a:avLst/>
          </a:prstGeom>
          <a:solidFill>
            <a:srgbClr val="FB505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latin typeface="Gotham" panose="02000504050000020004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" panose="02000504050000020004" pitchFamily="2" charset="0"/>
                <a:ea typeface="+mn-ea"/>
                <a:cs typeface="+mn-cs"/>
              </a:rPr>
              <a:t>TRANSVERSAL SERVICES</a:t>
            </a:r>
          </a:p>
        </p:txBody>
      </p:sp>
      <p:pic>
        <p:nvPicPr>
          <p:cNvPr id="1038" name="Picture 14" descr="Image result for project development icon png">
            <a:extLst>
              <a:ext uri="{FF2B5EF4-FFF2-40B4-BE49-F238E27FC236}">
                <a16:creationId xmlns:a16="http://schemas.microsoft.com/office/drawing/2014/main" id="{D20843BA-DFEC-4AB8-A926-442FB29070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76" y="4436671"/>
            <a:ext cx="1188720" cy="1188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675720" cy="450648"/>
          </a:xfrm>
        </p:spPr>
        <p:txBody>
          <a:bodyPr/>
          <a:lstStyle/>
          <a:p>
            <a:r>
              <a:rPr lang="en-IN" dirty="0"/>
              <a:t>Our Understanding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57AFA783-0924-45F1-92F0-087D34503AF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 flipV="1">
            <a:off x="3086786" y="3634471"/>
            <a:ext cx="365760" cy="36576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CA37B0E8-4CDC-421F-9A1A-803BE8972F2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 flipV="1">
            <a:off x="9173033" y="3634471"/>
            <a:ext cx="365760" cy="365760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B2C02354-698C-4870-8FC1-4185989DA892}"/>
              </a:ext>
            </a:extLst>
          </p:cNvPr>
          <p:cNvSpPr/>
          <p:nvPr/>
        </p:nvSpPr>
        <p:spPr>
          <a:xfrm>
            <a:off x="2389990" y="5752763"/>
            <a:ext cx="492748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" panose="02000504050000020004" pitchFamily="2" charset="0"/>
                <a:ea typeface="+mn-ea"/>
                <a:cs typeface="+mn-cs"/>
              </a:rPr>
              <a:t>CONTINUOUS IMPROVEMENT SERVICE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2C02354-698C-4870-8FC1-4185989DA892}"/>
              </a:ext>
            </a:extLst>
          </p:cNvPr>
          <p:cNvSpPr/>
          <p:nvPr/>
        </p:nvSpPr>
        <p:spPr>
          <a:xfrm>
            <a:off x="5219934" y="4875708"/>
            <a:ext cx="30460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" panose="02000504050000020004" pitchFamily="2" charset="0"/>
                <a:ea typeface="+mn-ea"/>
                <a:cs typeface="+mn-cs"/>
              </a:rPr>
              <a:t>SLA &amp; KPI COMPLIANC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2C02354-698C-4870-8FC1-4185989DA892}"/>
              </a:ext>
            </a:extLst>
          </p:cNvPr>
          <p:cNvSpPr/>
          <p:nvPr/>
        </p:nvSpPr>
        <p:spPr>
          <a:xfrm>
            <a:off x="2365721" y="5294773"/>
            <a:ext cx="605606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" panose="02000504050000020004" pitchFamily="2" charset="0"/>
                <a:ea typeface="+mn-ea"/>
                <a:cs typeface="+mn-cs"/>
              </a:rPr>
              <a:t>KNOWLEDGE &amp; TRANSITION MANAGEMEN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2C02354-698C-4870-8FC1-4185989DA892}"/>
              </a:ext>
            </a:extLst>
          </p:cNvPr>
          <p:cNvSpPr/>
          <p:nvPr/>
        </p:nvSpPr>
        <p:spPr>
          <a:xfrm>
            <a:off x="8566979" y="4875708"/>
            <a:ext cx="30460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" panose="02000504050000020004" pitchFamily="2" charset="0"/>
                <a:ea typeface="+mn-ea"/>
                <a:cs typeface="+mn-cs"/>
              </a:rPr>
              <a:t>RISK MANAGEMENT</a:t>
            </a:r>
          </a:p>
        </p:txBody>
      </p:sp>
    </p:spTree>
    <p:extLst>
      <p:ext uri="{BB962C8B-B14F-4D97-AF65-F5344CB8AC3E}">
        <p14:creationId xmlns:p14="http://schemas.microsoft.com/office/powerpoint/2010/main" val="17213003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601A8E9-5A29-4B41-BF23-0970DBE2DBE9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837C559-6559-4E5A-B04E-C080F5A500A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F75BC">
                  <a:alpha val="85000"/>
                </a:srgbClr>
              </a:gs>
              <a:gs pos="100000">
                <a:srgbClr val="3B3B3D">
                  <a:alpha val="8500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文本框 9">
            <a:extLst>
              <a:ext uri="{FF2B5EF4-FFF2-40B4-BE49-F238E27FC236}">
                <a16:creationId xmlns:a16="http://schemas.microsoft.com/office/drawing/2014/main" id="{AADC7527-8603-4F7F-BF3C-E53E71550F30}"/>
              </a:ext>
            </a:extLst>
          </p:cNvPr>
          <p:cNvSpPr txBox="1"/>
          <p:nvPr/>
        </p:nvSpPr>
        <p:spPr>
          <a:xfrm>
            <a:off x="2931869" y="2685084"/>
            <a:ext cx="6949440" cy="1645920"/>
          </a:xfrm>
          <a:prstGeom prst="rect">
            <a:avLst/>
          </a:prstGeom>
          <a:noFill/>
          <a:ln w="12700">
            <a:solidFill>
              <a:schemeClr val="bg1"/>
            </a:solidFill>
            <a:prstDash val="solid"/>
          </a:ln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方正粗谭黑简体" panose="02000000000000000000" pitchFamily="2" charset="-122"/>
              <a:ea typeface="方正粗谭黑简体" panose="02000000000000000000" pitchFamily="2" charset="-122"/>
              <a:cs typeface="+mn-cs"/>
            </a:endParaRPr>
          </a:p>
        </p:txBody>
      </p:sp>
      <p:sp>
        <p:nvSpPr>
          <p:cNvPr id="16" name="矩形 4">
            <a:extLst>
              <a:ext uri="{FF2B5EF4-FFF2-40B4-BE49-F238E27FC236}">
                <a16:creationId xmlns:a16="http://schemas.microsoft.com/office/drawing/2014/main" id="{BAD93A0B-AF39-49E9-94CB-B8447B779FFA}"/>
              </a:ext>
            </a:extLst>
          </p:cNvPr>
          <p:cNvSpPr/>
          <p:nvPr/>
        </p:nvSpPr>
        <p:spPr>
          <a:xfrm>
            <a:off x="8700822" y="1771550"/>
            <a:ext cx="2799244" cy="3314900"/>
          </a:xfrm>
          <a:custGeom>
            <a:avLst/>
            <a:gdLst>
              <a:gd name="connsiteX0" fmla="*/ 0 w 3816424"/>
              <a:gd name="connsiteY0" fmla="*/ 0 h 4392488"/>
              <a:gd name="connsiteX1" fmla="*/ 3816424 w 3816424"/>
              <a:gd name="connsiteY1" fmla="*/ 0 h 4392488"/>
              <a:gd name="connsiteX2" fmla="*/ 3816424 w 3816424"/>
              <a:gd name="connsiteY2" fmla="*/ 4392488 h 4392488"/>
              <a:gd name="connsiteX3" fmla="*/ 0 w 3816424"/>
              <a:gd name="connsiteY3" fmla="*/ 4392488 h 4392488"/>
              <a:gd name="connsiteX4" fmla="*/ 0 w 3816424"/>
              <a:gd name="connsiteY4" fmla="*/ 0 h 4392488"/>
              <a:gd name="connsiteX0" fmla="*/ 16743 w 3833167"/>
              <a:gd name="connsiteY0" fmla="*/ 0 h 4392488"/>
              <a:gd name="connsiteX1" fmla="*/ 3833167 w 3833167"/>
              <a:gd name="connsiteY1" fmla="*/ 0 h 4392488"/>
              <a:gd name="connsiteX2" fmla="*/ 3833167 w 3833167"/>
              <a:gd name="connsiteY2" fmla="*/ 4392488 h 4392488"/>
              <a:gd name="connsiteX3" fmla="*/ 16743 w 3833167"/>
              <a:gd name="connsiteY3" fmla="*/ 4392488 h 4392488"/>
              <a:gd name="connsiteX4" fmla="*/ 0 w 3833167"/>
              <a:gd name="connsiteY4" fmla="*/ 1086693 h 4392488"/>
              <a:gd name="connsiteX5" fmla="*/ 16743 w 3833167"/>
              <a:gd name="connsiteY5" fmla="*/ 0 h 4392488"/>
              <a:gd name="connsiteX0" fmla="*/ 16743 w 3833167"/>
              <a:gd name="connsiteY0" fmla="*/ 0 h 4392488"/>
              <a:gd name="connsiteX1" fmla="*/ 3833167 w 3833167"/>
              <a:gd name="connsiteY1" fmla="*/ 0 h 4392488"/>
              <a:gd name="connsiteX2" fmla="*/ 3833167 w 3833167"/>
              <a:gd name="connsiteY2" fmla="*/ 4392488 h 4392488"/>
              <a:gd name="connsiteX3" fmla="*/ 16743 w 3833167"/>
              <a:gd name="connsiteY3" fmla="*/ 4392488 h 4392488"/>
              <a:gd name="connsiteX4" fmla="*/ 1 w 3833167"/>
              <a:gd name="connsiteY4" fmla="*/ 3506043 h 4392488"/>
              <a:gd name="connsiteX5" fmla="*/ 0 w 3833167"/>
              <a:gd name="connsiteY5" fmla="*/ 1086693 h 4392488"/>
              <a:gd name="connsiteX6" fmla="*/ 16743 w 3833167"/>
              <a:gd name="connsiteY6" fmla="*/ 0 h 4392488"/>
              <a:gd name="connsiteX0" fmla="*/ 35792 w 3852216"/>
              <a:gd name="connsiteY0" fmla="*/ 0 h 4392488"/>
              <a:gd name="connsiteX1" fmla="*/ 3852216 w 3852216"/>
              <a:gd name="connsiteY1" fmla="*/ 0 h 4392488"/>
              <a:gd name="connsiteX2" fmla="*/ 3852216 w 3852216"/>
              <a:gd name="connsiteY2" fmla="*/ 4392488 h 4392488"/>
              <a:gd name="connsiteX3" fmla="*/ 35792 w 3852216"/>
              <a:gd name="connsiteY3" fmla="*/ 4392488 h 4392488"/>
              <a:gd name="connsiteX4" fmla="*/ 19050 w 3852216"/>
              <a:gd name="connsiteY4" fmla="*/ 3506043 h 4392488"/>
              <a:gd name="connsiteX5" fmla="*/ 0 w 3852216"/>
              <a:gd name="connsiteY5" fmla="*/ 2210643 h 4392488"/>
              <a:gd name="connsiteX6" fmla="*/ 19049 w 3852216"/>
              <a:gd name="connsiteY6" fmla="*/ 1086693 h 4392488"/>
              <a:gd name="connsiteX7" fmla="*/ 35792 w 3852216"/>
              <a:gd name="connsiteY7" fmla="*/ 0 h 4392488"/>
              <a:gd name="connsiteX0" fmla="*/ 0 w 3852216"/>
              <a:gd name="connsiteY0" fmla="*/ 2210643 h 4392488"/>
              <a:gd name="connsiteX1" fmla="*/ 19049 w 3852216"/>
              <a:gd name="connsiteY1" fmla="*/ 1086693 h 4392488"/>
              <a:gd name="connsiteX2" fmla="*/ 35792 w 3852216"/>
              <a:gd name="connsiteY2" fmla="*/ 0 h 4392488"/>
              <a:gd name="connsiteX3" fmla="*/ 3852216 w 3852216"/>
              <a:gd name="connsiteY3" fmla="*/ 0 h 4392488"/>
              <a:gd name="connsiteX4" fmla="*/ 3852216 w 3852216"/>
              <a:gd name="connsiteY4" fmla="*/ 4392488 h 4392488"/>
              <a:gd name="connsiteX5" fmla="*/ 35792 w 3852216"/>
              <a:gd name="connsiteY5" fmla="*/ 4392488 h 4392488"/>
              <a:gd name="connsiteX6" fmla="*/ 19050 w 3852216"/>
              <a:gd name="connsiteY6" fmla="*/ 3506043 h 4392488"/>
              <a:gd name="connsiteX7" fmla="*/ 91440 w 3852216"/>
              <a:gd name="connsiteY7" fmla="*/ 2302083 h 4392488"/>
              <a:gd name="connsiteX0" fmla="*/ 0 w 3852216"/>
              <a:gd name="connsiteY0" fmla="*/ 2210643 h 4392488"/>
              <a:gd name="connsiteX1" fmla="*/ 19049 w 3852216"/>
              <a:gd name="connsiteY1" fmla="*/ 1086693 h 4392488"/>
              <a:gd name="connsiteX2" fmla="*/ 35792 w 3852216"/>
              <a:gd name="connsiteY2" fmla="*/ 0 h 4392488"/>
              <a:gd name="connsiteX3" fmla="*/ 3852216 w 3852216"/>
              <a:gd name="connsiteY3" fmla="*/ 0 h 4392488"/>
              <a:gd name="connsiteX4" fmla="*/ 3852216 w 3852216"/>
              <a:gd name="connsiteY4" fmla="*/ 4392488 h 4392488"/>
              <a:gd name="connsiteX5" fmla="*/ 35792 w 3852216"/>
              <a:gd name="connsiteY5" fmla="*/ 4392488 h 4392488"/>
              <a:gd name="connsiteX6" fmla="*/ 19050 w 3852216"/>
              <a:gd name="connsiteY6" fmla="*/ 3506043 h 4392488"/>
              <a:gd name="connsiteX7" fmla="*/ 453390 w 3852216"/>
              <a:gd name="connsiteY7" fmla="*/ 2625933 h 4392488"/>
              <a:gd name="connsiteX0" fmla="*/ 0 w 3852216"/>
              <a:gd name="connsiteY0" fmla="*/ 2210643 h 4392488"/>
              <a:gd name="connsiteX1" fmla="*/ 19049 w 3852216"/>
              <a:gd name="connsiteY1" fmla="*/ 1086693 h 4392488"/>
              <a:gd name="connsiteX2" fmla="*/ 35792 w 3852216"/>
              <a:gd name="connsiteY2" fmla="*/ 0 h 4392488"/>
              <a:gd name="connsiteX3" fmla="*/ 3852216 w 3852216"/>
              <a:gd name="connsiteY3" fmla="*/ 0 h 4392488"/>
              <a:gd name="connsiteX4" fmla="*/ 3852216 w 3852216"/>
              <a:gd name="connsiteY4" fmla="*/ 4392488 h 4392488"/>
              <a:gd name="connsiteX5" fmla="*/ 35792 w 3852216"/>
              <a:gd name="connsiteY5" fmla="*/ 4392488 h 4392488"/>
              <a:gd name="connsiteX6" fmla="*/ 19050 w 3852216"/>
              <a:gd name="connsiteY6" fmla="*/ 3506043 h 4392488"/>
              <a:gd name="connsiteX0" fmla="*/ 0 w 3833167"/>
              <a:gd name="connsiteY0" fmla="*/ 1086693 h 4392488"/>
              <a:gd name="connsiteX1" fmla="*/ 16743 w 3833167"/>
              <a:gd name="connsiteY1" fmla="*/ 0 h 4392488"/>
              <a:gd name="connsiteX2" fmla="*/ 3833167 w 3833167"/>
              <a:gd name="connsiteY2" fmla="*/ 0 h 4392488"/>
              <a:gd name="connsiteX3" fmla="*/ 3833167 w 3833167"/>
              <a:gd name="connsiteY3" fmla="*/ 4392488 h 4392488"/>
              <a:gd name="connsiteX4" fmla="*/ 16743 w 3833167"/>
              <a:gd name="connsiteY4" fmla="*/ 4392488 h 4392488"/>
              <a:gd name="connsiteX5" fmla="*/ 1 w 3833167"/>
              <a:gd name="connsiteY5" fmla="*/ 3506043 h 4392488"/>
              <a:gd name="connsiteX0" fmla="*/ 19049 w 3833166"/>
              <a:gd name="connsiteY0" fmla="*/ 1086693 h 4392488"/>
              <a:gd name="connsiteX1" fmla="*/ 16742 w 3833166"/>
              <a:gd name="connsiteY1" fmla="*/ 0 h 4392488"/>
              <a:gd name="connsiteX2" fmla="*/ 3833166 w 3833166"/>
              <a:gd name="connsiteY2" fmla="*/ 0 h 4392488"/>
              <a:gd name="connsiteX3" fmla="*/ 3833166 w 3833166"/>
              <a:gd name="connsiteY3" fmla="*/ 4392488 h 4392488"/>
              <a:gd name="connsiteX4" fmla="*/ 16742 w 3833166"/>
              <a:gd name="connsiteY4" fmla="*/ 4392488 h 4392488"/>
              <a:gd name="connsiteX5" fmla="*/ 0 w 3833166"/>
              <a:gd name="connsiteY5" fmla="*/ 3506043 h 4392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3166" h="4392488">
                <a:moveTo>
                  <a:pt x="19049" y="1086693"/>
                </a:moveTo>
                <a:lnTo>
                  <a:pt x="16742" y="0"/>
                </a:lnTo>
                <a:lnTo>
                  <a:pt x="3833166" y="0"/>
                </a:lnTo>
                <a:lnTo>
                  <a:pt x="3833166" y="4392488"/>
                </a:lnTo>
                <a:lnTo>
                  <a:pt x="16742" y="4392488"/>
                </a:lnTo>
                <a:lnTo>
                  <a:pt x="0" y="3506043"/>
                </a:lnTo>
              </a:path>
            </a:pathLst>
          </a:custGeom>
          <a:noFill/>
          <a:ln w="276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70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1CA078F-0930-4133-81EF-F815B3F50F67}"/>
              </a:ext>
            </a:extLst>
          </p:cNvPr>
          <p:cNvSpPr txBox="1"/>
          <p:nvPr/>
        </p:nvSpPr>
        <p:spPr>
          <a:xfrm>
            <a:off x="2886149" y="2685084"/>
            <a:ext cx="7040880" cy="164592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lnSpc>
                <a:spcPts val="4400"/>
              </a:lnSpc>
              <a:defRPr sz="4000" spc="6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4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200" dirty="0">
                <a:solidFill>
                  <a:prstClr val="white"/>
                </a:solidFill>
              </a:rPr>
              <a:t>STC- WAY OF WORKING</a:t>
            </a:r>
            <a:endParaRPr kumimoji="0" lang="da-DK" sz="3200" b="0" i="0" u="none" strike="noStrike" kern="1200" cap="none" spc="6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9970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  <p:bldP spid="4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Hexagon 192">
            <a:extLst>
              <a:ext uri="{FF2B5EF4-FFF2-40B4-BE49-F238E27FC236}">
                <a16:creationId xmlns:a16="http://schemas.microsoft.com/office/drawing/2014/main" id="{9E7FF100-3872-4DD7-AE81-9741766AEE0A}"/>
              </a:ext>
            </a:extLst>
          </p:cNvPr>
          <p:cNvSpPr/>
          <p:nvPr/>
        </p:nvSpPr>
        <p:spPr>
          <a:xfrm rot="5400000">
            <a:off x="1982303" y="2615389"/>
            <a:ext cx="1096674" cy="945408"/>
          </a:xfrm>
          <a:prstGeom prst="hexagon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4" name="Hexagon 193">
            <a:extLst>
              <a:ext uri="{FF2B5EF4-FFF2-40B4-BE49-F238E27FC236}">
                <a16:creationId xmlns:a16="http://schemas.microsoft.com/office/drawing/2014/main" id="{B10016FF-7E6E-4721-B608-C57C62ADE651}"/>
              </a:ext>
            </a:extLst>
          </p:cNvPr>
          <p:cNvSpPr/>
          <p:nvPr/>
        </p:nvSpPr>
        <p:spPr>
          <a:xfrm rot="5400000">
            <a:off x="1509175" y="3486752"/>
            <a:ext cx="1096674" cy="945408"/>
          </a:xfrm>
          <a:prstGeom prst="hexag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6" name="Hexagon 195">
            <a:extLst>
              <a:ext uri="{FF2B5EF4-FFF2-40B4-BE49-F238E27FC236}">
                <a16:creationId xmlns:a16="http://schemas.microsoft.com/office/drawing/2014/main" id="{E4EC681B-8FD2-4196-8E7C-730767E308D9}"/>
              </a:ext>
            </a:extLst>
          </p:cNvPr>
          <p:cNvSpPr/>
          <p:nvPr/>
        </p:nvSpPr>
        <p:spPr>
          <a:xfrm rot="5400000">
            <a:off x="1980601" y="4353057"/>
            <a:ext cx="1096674" cy="945408"/>
          </a:xfrm>
          <a:prstGeom prst="hexagon">
            <a:avLst/>
          </a:prstGeom>
          <a:solidFill>
            <a:srgbClr val="8FAA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Hexagon 1">
            <a:extLst>
              <a:ext uri="{FF2B5EF4-FFF2-40B4-BE49-F238E27FC236}">
                <a16:creationId xmlns:a16="http://schemas.microsoft.com/office/drawing/2014/main" id="{0EB287A8-0CDE-4939-A015-F60B965706C2}"/>
              </a:ext>
            </a:extLst>
          </p:cNvPr>
          <p:cNvSpPr/>
          <p:nvPr/>
        </p:nvSpPr>
        <p:spPr>
          <a:xfrm rot="5400000">
            <a:off x="1510623" y="1749084"/>
            <a:ext cx="1096674" cy="945408"/>
          </a:xfrm>
          <a:prstGeom prst="hexagon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5135981" y="3029165"/>
            <a:ext cx="1299470" cy="1228556"/>
            <a:chOff x="601033" y="2855912"/>
            <a:chExt cx="2041126" cy="2041126"/>
          </a:xfrm>
        </p:grpSpPr>
        <p:sp>
          <p:nvSpPr>
            <p:cNvPr id="152" name="Circle: Hollow 151"/>
            <p:cNvSpPr>
              <a:spLocks noChangeAspect="1"/>
            </p:cNvSpPr>
            <p:nvPr/>
          </p:nvSpPr>
          <p:spPr>
            <a:xfrm>
              <a:off x="763241" y="3018120"/>
              <a:ext cx="1716710" cy="1716710"/>
            </a:xfrm>
            <a:prstGeom prst="donut">
              <a:avLst>
                <a:gd name="adj" fmla="val 7139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53" name="Group 152"/>
            <p:cNvGrpSpPr/>
            <p:nvPr/>
          </p:nvGrpSpPr>
          <p:grpSpPr>
            <a:xfrm>
              <a:off x="1534076" y="2855912"/>
              <a:ext cx="175040" cy="2041126"/>
              <a:chOff x="8229799" y="2768458"/>
              <a:chExt cx="175040" cy="2041126"/>
            </a:xfrm>
            <a:solidFill>
              <a:schemeClr val="tx2"/>
            </a:solidFill>
          </p:grpSpPr>
          <p:sp>
            <p:nvSpPr>
              <p:cNvPr id="169" name="Trapezoid 168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0" name="Trapezoid 169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54" name="Group 153"/>
            <p:cNvGrpSpPr/>
            <p:nvPr/>
          </p:nvGrpSpPr>
          <p:grpSpPr>
            <a:xfrm rot="5400000">
              <a:off x="1534076" y="2855912"/>
              <a:ext cx="175040" cy="2041126"/>
              <a:chOff x="8229799" y="2768458"/>
              <a:chExt cx="175040" cy="2041126"/>
            </a:xfrm>
            <a:solidFill>
              <a:schemeClr val="tx2"/>
            </a:solidFill>
          </p:grpSpPr>
          <p:sp>
            <p:nvSpPr>
              <p:cNvPr id="167" name="Trapezoid 166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8" name="Trapezoid 167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55" name="Group 154"/>
            <p:cNvGrpSpPr/>
            <p:nvPr/>
          </p:nvGrpSpPr>
          <p:grpSpPr>
            <a:xfrm rot="1800000">
              <a:off x="1534076" y="2855912"/>
              <a:ext cx="175040" cy="2041126"/>
              <a:chOff x="8229799" y="2768458"/>
              <a:chExt cx="175040" cy="2041126"/>
            </a:xfrm>
            <a:solidFill>
              <a:schemeClr val="tx2"/>
            </a:solidFill>
          </p:grpSpPr>
          <p:sp>
            <p:nvSpPr>
              <p:cNvPr id="165" name="Trapezoid 164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6" name="Trapezoid 165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56" name="Group 155"/>
            <p:cNvGrpSpPr/>
            <p:nvPr/>
          </p:nvGrpSpPr>
          <p:grpSpPr>
            <a:xfrm rot="3600000">
              <a:off x="1534076" y="2855912"/>
              <a:ext cx="175040" cy="2041126"/>
              <a:chOff x="8229799" y="2768458"/>
              <a:chExt cx="175040" cy="2041126"/>
            </a:xfrm>
            <a:solidFill>
              <a:schemeClr val="tx2"/>
            </a:solidFill>
          </p:grpSpPr>
          <p:sp>
            <p:nvSpPr>
              <p:cNvPr id="163" name="Trapezoid 162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4" name="Trapezoid 163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57" name="Group 156"/>
            <p:cNvGrpSpPr/>
            <p:nvPr/>
          </p:nvGrpSpPr>
          <p:grpSpPr>
            <a:xfrm rot="7200000">
              <a:off x="1534076" y="2855912"/>
              <a:ext cx="175040" cy="2041126"/>
              <a:chOff x="8229799" y="2768458"/>
              <a:chExt cx="175040" cy="2041126"/>
            </a:xfrm>
            <a:solidFill>
              <a:schemeClr val="tx2"/>
            </a:solidFill>
          </p:grpSpPr>
          <p:sp>
            <p:nvSpPr>
              <p:cNvPr id="161" name="Trapezoid 160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2" name="Trapezoid 161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58" name="Group 157"/>
            <p:cNvGrpSpPr/>
            <p:nvPr/>
          </p:nvGrpSpPr>
          <p:grpSpPr>
            <a:xfrm rot="9000000">
              <a:off x="1534076" y="2855912"/>
              <a:ext cx="175040" cy="2041126"/>
              <a:chOff x="8229799" y="2768458"/>
              <a:chExt cx="175040" cy="2041126"/>
            </a:xfrm>
            <a:solidFill>
              <a:schemeClr val="tx2"/>
            </a:solidFill>
          </p:grpSpPr>
          <p:sp>
            <p:nvSpPr>
              <p:cNvPr id="159" name="Trapezoid 158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0" name="Trapezoid 159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1" name="Oval 10"/>
            <p:cNvSpPr>
              <a:spLocks noChangeAspect="1"/>
            </p:cNvSpPr>
            <p:nvPr/>
          </p:nvSpPr>
          <p:spPr>
            <a:xfrm>
              <a:off x="915182" y="3175845"/>
              <a:ext cx="1408186" cy="14081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115586" y="3029165"/>
            <a:ext cx="1299470" cy="1228556"/>
            <a:chOff x="2955023" y="2855911"/>
            <a:chExt cx="2041126" cy="2041126"/>
          </a:xfrm>
        </p:grpSpPr>
        <p:sp>
          <p:nvSpPr>
            <p:cNvPr id="323" name="Circle: Hollow 322"/>
            <p:cNvSpPr>
              <a:spLocks noChangeAspect="1"/>
            </p:cNvSpPr>
            <p:nvPr/>
          </p:nvSpPr>
          <p:spPr>
            <a:xfrm>
              <a:off x="3117231" y="3018119"/>
              <a:ext cx="1716710" cy="1716710"/>
            </a:xfrm>
            <a:prstGeom prst="donut">
              <a:avLst>
                <a:gd name="adj" fmla="val 7139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24" name="Group 323"/>
            <p:cNvGrpSpPr/>
            <p:nvPr/>
          </p:nvGrpSpPr>
          <p:grpSpPr>
            <a:xfrm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341" name="Trapezoid 340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2" name="Trapezoid 341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25" name="Group 324"/>
            <p:cNvGrpSpPr/>
            <p:nvPr/>
          </p:nvGrpSpPr>
          <p:grpSpPr>
            <a:xfrm rot="5400000"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339" name="Trapezoid 338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0" name="Trapezoid 339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26" name="Group 325"/>
            <p:cNvGrpSpPr/>
            <p:nvPr/>
          </p:nvGrpSpPr>
          <p:grpSpPr>
            <a:xfrm rot="1800000"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337" name="Trapezoid 336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8" name="Trapezoid 337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27" name="Group 326"/>
            <p:cNvGrpSpPr/>
            <p:nvPr/>
          </p:nvGrpSpPr>
          <p:grpSpPr>
            <a:xfrm rot="3600000"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335" name="Trapezoid 334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6" name="Trapezoid 335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28" name="Group 327"/>
            <p:cNvGrpSpPr/>
            <p:nvPr/>
          </p:nvGrpSpPr>
          <p:grpSpPr>
            <a:xfrm rot="7200000"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333" name="Trapezoid 332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4" name="Trapezoid 333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29" name="Group 328"/>
            <p:cNvGrpSpPr/>
            <p:nvPr/>
          </p:nvGrpSpPr>
          <p:grpSpPr>
            <a:xfrm rot="9000000"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331" name="Trapezoid 330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2" name="Trapezoid 331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30" name="Oval 329"/>
            <p:cNvSpPr>
              <a:spLocks noChangeAspect="1"/>
            </p:cNvSpPr>
            <p:nvPr/>
          </p:nvSpPr>
          <p:spPr>
            <a:xfrm>
              <a:off x="3269172" y="3175844"/>
              <a:ext cx="1408186" cy="14081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7095190" y="3029165"/>
            <a:ext cx="1299470" cy="1228556"/>
            <a:chOff x="5517577" y="2855912"/>
            <a:chExt cx="2041126" cy="2041126"/>
          </a:xfrm>
        </p:grpSpPr>
        <p:sp>
          <p:nvSpPr>
            <p:cNvPr id="343" name="Circle: Hollow 342"/>
            <p:cNvSpPr>
              <a:spLocks noChangeAspect="1"/>
            </p:cNvSpPr>
            <p:nvPr/>
          </p:nvSpPr>
          <p:spPr>
            <a:xfrm>
              <a:off x="5679785" y="3018120"/>
              <a:ext cx="1716710" cy="1716710"/>
            </a:xfrm>
            <a:prstGeom prst="donut">
              <a:avLst>
                <a:gd name="adj" fmla="val 7139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44" name="Group 343"/>
            <p:cNvGrpSpPr/>
            <p:nvPr/>
          </p:nvGrpSpPr>
          <p:grpSpPr>
            <a:xfrm>
              <a:off x="6450620" y="2855912"/>
              <a:ext cx="175040" cy="2041126"/>
              <a:chOff x="8229799" y="2768458"/>
              <a:chExt cx="175040" cy="2041126"/>
            </a:xfrm>
            <a:solidFill>
              <a:schemeClr val="accent2"/>
            </a:solidFill>
          </p:grpSpPr>
          <p:sp>
            <p:nvSpPr>
              <p:cNvPr id="345" name="Trapezoid 344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6" name="Trapezoid 345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47" name="Group 346"/>
            <p:cNvGrpSpPr/>
            <p:nvPr/>
          </p:nvGrpSpPr>
          <p:grpSpPr>
            <a:xfrm rot="5400000">
              <a:off x="6450620" y="2855912"/>
              <a:ext cx="175040" cy="2041126"/>
              <a:chOff x="8229799" y="2768458"/>
              <a:chExt cx="175040" cy="2041126"/>
            </a:xfrm>
            <a:solidFill>
              <a:schemeClr val="accent2"/>
            </a:solidFill>
          </p:grpSpPr>
          <p:sp>
            <p:nvSpPr>
              <p:cNvPr id="348" name="Trapezoid 347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9" name="Trapezoid 348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50" name="Group 349"/>
            <p:cNvGrpSpPr/>
            <p:nvPr/>
          </p:nvGrpSpPr>
          <p:grpSpPr>
            <a:xfrm rot="1800000">
              <a:off x="6450620" y="2855912"/>
              <a:ext cx="175040" cy="2041126"/>
              <a:chOff x="8229799" y="2768458"/>
              <a:chExt cx="175040" cy="2041126"/>
            </a:xfrm>
            <a:solidFill>
              <a:schemeClr val="accent2"/>
            </a:solidFill>
          </p:grpSpPr>
          <p:sp>
            <p:nvSpPr>
              <p:cNvPr id="351" name="Trapezoid 350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2" name="Trapezoid 351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53" name="Group 352"/>
            <p:cNvGrpSpPr/>
            <p:nvPr/>
          </p:nvGrpSpPr>
          <p:grpSpPr>
            <a:xfrm rot="3600000">
              <a:off x="6450620" y="2855912"/>
              <a:ext cx="175040" cy="2041126"/>
              <a:chOff x="8229799" y="2768458"/>
              <a:chExt cx="175040" cy="2041126"/>
            </a:xfrm>
            <a:solidFill>
              <a:schemeClr val="accent2"/>
            </a:solidFill>
          </p:grpSpPr>
          <p:sp>
            <p:nvSpPr>
              <p:cNvPr id="354" name="Trapezoid 353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5" name="Trapezoid 354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56" name="Group 355"/>
            <p:cNvGrpSpPr/>
            <p:nvPr/>
          </p:nvGrpSpPr>
          <p:grpSpPr>
            <a:xfrm rot="7200000">
              <a:off x="6450620" y="2855912"/>
              <a:ext cx="175040" cy="2041126"/>
              <a:chOff x="8229799" y="2768458"/>
              <a:chExt cx="175040" cy="2041126"/>
            </a:xfrm>
            <a:solidFill>
              <a:schemeClr val="accent2"/>
            </a:solidFill>
          </p:grpSpPr>
          <p:sp>
            <p:nvSpPr>
              <p:cNvPr id="357" name="Trapezoid 356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8" name="Trapezoid 357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59" name="Group 358"/>
            <p:cNvGrpSpPr/>
            <p:nvPr/>
          </p:nvGrpSpPr>
          <p:grpSpPr>
            <a:xfrm rot="9000000">
              <a:off x="6450620" y="2855912"/>
              <a:ext cx="175040" cy="2041126"/>
              <a:chOff x="8229799" y="2768458"/>
              <a:chExt cx="175040" cy="2041126"/>
            </a:xfrm>
            <a:solidFill>
              <a:schemeClr val="accent2"/>
            </a:solidFill>
          </p:grpSpPr>
          <p:sp>
            <p:nvSpPr>
              <p:cNvPr id="360" name="Trapezoid 359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1" name="Trapezoid 360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62" name="Oval 361"/>
            <p:cNvSpPr>
              <a:spLocks noChangeAspect="1"/>
            </p:cNvSpPr>
            <p:nvPr/>
          </p:nvSpPr>
          <p:spPr>
            <a:xfrm>
              <a:off x="5831726" y="3175845"/>
              <a:ext cx="1408186" cy="14081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8074795" y="3029165"/>
            <a:ext cx="1299470" cy="1228556"/>
            <a:chOff x="7964592" y="2855911"/>
            <a:chExt cx="2041126" cy="2041126"/>
          </a:xfrm>
        </p:grpSpPr>
        <p:sp>
          <p:nvSpPr>
            <p:cNvPr id="363" name="Circle: Hollow 362"/>
            <p:cNvSpPr>
              <a:spLocks noChangeAspect="1"/>
            </p:cNvSpPr>
            <p:nvPr/>
          </p:nvSpPr>
          <p:spPr>
            <a:xfrm>
              <a:off x="8126800" y="3018119"/>
              <a:ext cx="1716710" cy="1716710"/>
            </a:xfrm>
            <a:prstGeom prst="donut">
              <a:avLst>
                <a:gd name="adj" fmla="val 7139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64" name="Group 363"/>
            <p:cNvGrpSpPr/>
            <p:nvPr/>
          </p:nvGrpSpPr>
          <p:grpSpPr>
            <a:xfrm>
              <a:off x="8897635" y="2855911"/>
              <a:ext cx="175040" cy="2041126"/>
              <a:chOff x="8229799" y="2768458"/>
              <a:chExt cx="175040" cy="2041126"/>
            </a:xfrm>
            <a:solidFill>
              <a:schemeClr val="accent3"/>
            </a:solidFill>
          </p:grpSpPr>
          <p:sp>
            <p:nvSpPr>
              <p:cNvPr id="365" name="Trapezoid 364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6" name="Trapezoid 365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67" name="Group 366"/>
            <p:cNvGrpSpPr/>
            <p:nvPr/>
          </p:nvGrpSpPr>
          <p:grpSpPr>
            <a:xfrm rot="5400000">
              <a:off x="8897635" y="2855911"/>
              <a:ext cx="175040" cy="2041126"/>
              <a:chOff x="8229799" y="2768458"/>
              <a:chExt cx="175040" cy="2041126"/>
            </a:xfrm>
            <a:solidFill>
              <a:schemeClr val="accent3"/>
            </a:solidFill>
          </p:grpSpPr>
          <p:sp>
            <p:nvSpPr>
              <p:cNvPr id="368" name="Trapezoid 367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9" name="Trapezoid 368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70" name="Group 369"/>
            <p:cNvGrpSpPr/>
            <p:nvPr/>
          </p:nvGrpSpPr>
          <p:grpSpPr>
            <a:xfrm rot="1800000">
              <a:off x="8897635" y="2855911"/>
              <a:ext cx="175040" cy="2041126"/>
              <a:chOff x="8229799" y="2768458"/>
              <a:chExt cx="175040" cy="2041126"/>
            </a:xfrm>
            <a:solidFill>
              <a:schemeClr val="accent3"/>
            </a:solidFill>
          </p:grpSpPr>
          <p:sp>
            <p:nvSpPr>
              <p:cNvPr id="371" name="Trapezoid 370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2" name="Trapezoid 371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73" name="Group 372"/>
            <p:cNvGrpSpPr/>
            <p:nvPr/>
          </p:nvGrpSpPr>
          <p:grpSpPr>
            <a:xfrm rot="3600000">
              <a:off x="8897635" y="2855911"/>
              <a:ext cx="175040" cy="2041126"/>
              <a:chOff x="8229799" y="2768458"/>
              <a:chExt cx="175040" cy="2041126"/>
            </a:xfrm>
            <a:solidFill>
              <a:schemeClr val="accent3"/>
            </a:solidFill>
          </p:grpSpPr>
          <p:sp>
            <p:nvSpPr>
              <p:cNvPr id="374" name="Trapezoid 373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5" name="Trapezoid 374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76" name="Group 375"/>
            <p:cNvGrpSpPr/>
            <p:nvPr/>
          </p:nvGrpSpPr>
          <p:grpSpPr>
            <a:xfrm rot="7200000">
              <a:off x="8897635" y="2855911"/>
              <a:ext cx="175040" cy="2041126"/>
              <a:chOff x="8229799" y="2768458"/>
              <a:chExt cx="175040" cy="2041126"/>
            </a:xfrm>
            <a:solidFill>
              <a:schemeClr val="accent3"/>
            </a:solidFill>
          </p:grpSpPr>
          <p:sp>
            <p:nvSpPr>
              <p:cNvPr id="377" name="Trapezoid 376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8" name="Trapezoid 377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79" name="Group 378"/>
            <p:cNvGrpSpPr/>
            <p:nvPr/>
          </p:nvGrpSpPr>
          <p:grpSpPr>
            <a:xfrm rot="9000000">
              <a:off x="8897635" y="2855911"/>
              <a:ext cx="175040" cy="2041126"/>
              <a:chOff x="8229799" y="2768458"/>
              <a:chExt cx="175040" cy="2041126"/>
            </a:xfrm>
            <a:solidFill>
              <a:schemeClr val="accent3"/>
            </a:solidFill>
          </p:grpSpPr>
          <p:sp>
            <p:nvSpPr>
              <p:cNvPr id="380" name="Trapezoid 379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1" name="Trapezoid 380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82" name="Oval 381"/>
            <p:cNvSpPr>
              <a:spLocks noChangeAspect="1"/>
            </p:cNvSpPr>
            <p:nvPr/>
          </p:nvSpPr>
          <p:spPr>
            <a:xfrm>
              <a:off x="8278741" y="3175844"/>
              <a:ext cx="1408186" cy="14081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9054400" y="3029165"/>
            <a:ext cx="1299470" cy="1228556"/>
            <a:chOff x="10100130" y="2614418"/>
            <a:chExt cx="2041126" cy="2041126"/>
          </a:xfrm>
        </p:grpSpPr>
        <p:sp>
          <p:nvSpPr>
            <p:cNvPr id="383" name="Circle: Hollow 382"/>
            <p:cNvSpPr>
              <a:spLocks noChangeAspect="1"/>
            </p:cNvSpPr>
            <p:nvPr/>
          </p:nvSpPr>
          <p:spPr>
            <a:xfrm>
              <a:off x="10262338" y="2776626"/>
              <a:ext cx="1716710" cy="1716710"/>
            </a:xfrm>
            <a:prstGeom prst="donut">
              <a:avLst>
                <a:gd name="adj" fmla="val 7139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84" name="Group 383"/>
            <p:cNvGrpSpPr/>
            <p:nvPr/>
          </p:nvGrpSpPr>
          <p:grpSpPr>
            <a:xfrm>
              <a:off x="11033173" y="2614418"/>
              <a:ext cx="175040" cy="2041126"/>
              <a:chOff x="8229799" y="2768458"/>
              <a:chExt cx="175040" cy="2041126"/>
            </a:xfrm>
            <a:solidFill>
              <a:schemeClr val="accent4"/>
            </a:solidFill>
          </p:grpSpPr>
          <p:sp>
            <p:nvSpPr>
              <p:cNvPr id="385" name="Trapezoid 384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6" name="Trapezoid 385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87" name="Group 386"/>
            <p:cNvGrpSpPr/>
            <p:nvPr/>
          </p:nvGrpSpPr>
          <p:grpSpPr>
            <a:xfrm rot="5400000">
              <a:off x="11033173" y="2614418"/>
              <a:ext cx="175040" cy="2041126"/>
              <a:chOff x="8229799" y="2768458"/>
              <a:chExt cx="175040" cy="2041126"/>
            </a:xfrm>
            <a:solidFill>
              <a:schemeClr val="accent4"/>
            </a:solidFill>
          </p:grpSpPr>
          <p:sp>
            <p:nvSpPr>
              <p:cNvPr id="388" name="Trapezoid 387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9" name="Trapezoid 388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90" name="Group 389"/>
            <p:cNvGrpSpPr/>
            <p:nvPr/>
          </p:nvGrpSpPr>
          <p:grpSpPr>
            <a:xfrm rot="1800000">
              <a:off x="11033173" y="2614418"/>
              <a:ext cx="175040" cy="2041126"/>
              <a:chOff x="8229799" y="2768458"/>
              <a:chExt cx="175040" cy="2041126"/>
            </a:xfrm>
            <a:solidFill>
              <a:schemeClr val="accent4"/>
            </a:solidFill>
          </p:grpSpPr>
          <p:sp>
            <p:nvSpPr>
              <p:cNvPr id="391" name="Trapezoid 390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2" name="Trapezoid 391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93" name="Group 392"/>
            <p:cNvGrpSpPr/>
            <p:nvPr/>
          </p:nvGrpSpPr>
          <p:grpSpPr>
            <a:xfrm rot="3600000">
              <a:off x="11033173" y="2614418"/>
              <a:ext cx="175040" cy="2041126"/>
              <a:chOff x="8229799" y="2768458"/>
              <a:chExt cx="175040" cy="2041126"/>
            </a:xfrm>
            <a:solidFill>
              <a:schemeClr val="accent4"/>
            </a:solidFill>
          </p:grpSpPr>
          <p:sp>
            <p:nvSpPr>
              <p:cNvPr id="394" name="Trapezoid 393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5" name="Trapezoid 394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96" name="Group 395"/>
            <p:cNvGrpSpPr/>
            <p:nvPr/>
          </p:nvGrpSpPr>
          <p:grpSpPr>
            <a:xfrm rot="7200000">
              <a:off x="11033173" y="2614418"/>
              <a:ext cx="175040" cy="2041126"/>
              <a:chOff x="8229799" y="2768458"/>
              <a:chExt cx="175040" cy="2041126"/>
            </a:xfrm>
            <a:solidFill>
              <a:schemeClr val="accent4"/>
            </a:solidFill>
          </p:grpSpPr>
          <p:sp>
            <p:nvSpPr>
              <p:cNvPr id="397" name="Trapezoid 396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8" name="Trapezoid 397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99" name="Group 398"/>
            <p:cNvGrpSpPr/>
            <p:nvPr/>
          </p:nvGrpSpPr>
          <p:grpSpPr>
            <a:xfrm rot="9000000">
              <a:off x="11033173" y="2614418"/>
              <a:ext cx="175040" cy="2041126"/>
              <a:chOff x="8229799" y="2768458"/>
              <a:chExt cx="175040" cy="2041126"/>
            </a:xfrm>
            <a:solidFill>
              <a:schemeClr val="accent4"/>
            </a:solidFill>
          </p:grpSpPr>
          <p:sp>
            <p:nvSpPr>
              <p:cNvPr id="400" name="Trapezoid 399"/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1" name="Trapezoid 400"/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02" name="Oval 401"/>
            <p:cNvSpPr>
              <a:spLocks noChangeAspect="1"/>
            </p:cNvSpPr>
            <p:nvPr/>
          </p:nvSpPr>
          <p:spPr>
            <a:xfrm>
              <a:off x="10414279" y="2934351"/>
              <a:ext cx="1408186" cy="14081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2" name="Arc 21"/>
          <p:cNvSpPr/>
          <p:nvPr/>
        </p:nvSpPr>
        <p:spPr>
          <a:xfrm>
            <a:off x="5316939" y="2698277"/>
            <a:ext cx="937553" cy="550378"/>
          </a:xfrm>
          <a:prstGeom prst="arc">
            <a:avLst>
              <a:gd name="adj1" fmla="val 11819633"/>
              <a:gd name="adj2" fmla="val 20612193"/>
            </a:avLst>
          </a:prstGeom>
          <a:ln w="57150">
            <a:solidFill>
              <a:schemeClr val="bg1">
                <a:lumMod val="8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3" name="Arc 402"/>
          <p:cNvSpPr/>
          <p:nvPr/>
        </p:nvSpPr>
        <p:spPr>
          <a:xfrm>
            <a:off x="7274804" y="2698277"/>
            <a:ext cx="937553" cy="550378"/>
          </a:xfrm>
          <a:prstGeom prst="arc">
            <a:avLst>
              <a:gd name="adj1" fmla="val 11819633"/>
              <a:gd name="adj2" fmla="val 20612193"/>
            </a:avLst>
          </a:prstGeom>
          <a:ln w="57150">
            <a:solidFill>
              <a:schemeClr val="bg1">
                <a:lumMod val="8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4" name="Arc 403"/>
          <p:cNvSpPr/>
          <p:nvPr/>
        </p:nvSpPr>
        <p:spPr>
          <a:xfrm>
            <a:off x="9232670" y="2698277"/>
            <a:ext cx="937553" cy="550378"/>
          </a:xfrm>
          <a:prstGeom prst="arc">
            <a:avLst>
              <a:gd name="adj1" fmla="val 11819633"/>
              <a:gd name="adj2" fmla="val 20612193"/>
            </a:avLst>
          </a:prstGeom>
          <a:ln w="57150">
            <a:solidFill>
              <a:schemeClr val="bg1">
                <a:lumMod val="8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5" name="Arc 404"/>
          <p:cNvSpPr/>
          <p:nvPr/>
        </p:nvSpPr>
        <p:spPr>
          <a:xfrm rot="10800000">
            <a:off x="8230175" y="3979785"/>
            <a:ext cx="937553" cy="550378"/>
          </a:xfrm>
          <a:prstGeom prst="arc">
            <a:avLst>
              <a:gd name="adj1" fmla="val 11819633"/>
              <a:gd name="adj2" fmla="val 20612193"/>
            </a:avLst>
          </a:prstGeom>
          <a:ln w="57150">
            <a:solidFill>
              <a:schemeClr val="bg1">
                <a:lumMod val="85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6" name="Arc 405"/>
          <p:cNvSpPr/>
          <p:nvPr/>
        </p:nvSpPr>
        <p:spPr>
          <a:xfrm rot="10800000">
            <a:off x="6272309" y="3979785"/>
            <a:ext cx="937553" cy="550378"/>
          </a:xfrm>
          <a:prstGeom prst="arc">
            <a:avLst>
              <a:gd name="adj1" fmla="val 11819633"/>
              <a:gd name="adj2" fmla="val 20612193"/>
            </a:avLst>
          </a:prstGeom>
          <a:ln w="57150">
            <a:solidFill>
              <a:schemeClr val="bg1">
                <a:lumMod val="85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5121774" y="2141217"/>
            <a:ext cx="1329100" cy="447589"/>
            <a:chOff x="1951493" y="1143863"/>
            <a:chExt cx="2087667" cy="743625"/>
          </a:xfrm>
        </p:grpSpPr>
        <p:sp>
          <p:nvSpPr>
            <p:cNvPr id="24" name="TextBox 23"/>
            <p:cNvSpPr txBox="1"/>
            <p:nvPr/>
          </p:nvSpPr>
          <p:spPr>
            <a:xfrm>
              <a:off x="2658535" y="1143863"/>
              <a:ext cx="67358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EP 1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951493" y="1452849"/>
              <a:ext cx="2087667" cy="4346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itch Presentation</a:t>
              </a:r>
            </a:p>
          </p:txBody>
        </p:sp>
      </p:grpSp>
      <p:grpSp>
        <p:nvGrpSpPr>
          <p:cNvPr id="407" name="Group 406"/>
          <p:cNvGrpSpPr/>
          <p:nvPr/>
        </p:nvGrpSpPr>
        <p:grpSpPr>
          <a:xfrm>
            <a:off x="7058240" y="2133667"/>
            <a:ext cx="1329100" cy="479226"/>
            <a:chOff x="1917742" y="1143863"/>
            <a:chExt cx="2087667" cy="796188"/>
          </a:xfrm>
        </p:grpSpPr>
        <p:sp>
          <p:nvSpPr>
            <p:cNvPr id="408" name="TextBox 407"/>
            <p:cNvSpPr txBox="1"/>
            <p:nvPr/>
          </p:nvSpPr>
          <p:spPr>
            <a:xfrm>
              <a:off x="2659400" y="1143863"/>
              <a:ext cx="67185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9DD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EP 3</a:t>
              </a:r>
            </a:p>
          </p:txBody>
        </p:sp>
        <p:sp>
          <p:nvSpPr>
            <p:cNvPr id="409" name="TextBox 408"/>
            <p:cNvSpPr txBox="1"/>
            <p:nvPr/>
          </p:nvSpPr>
          <p:spPr>
            <a:xfrm>
              <a:off x="1917742" y="1224174"/>
              <a:ext cx="2087667" cy="7158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orkshop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</a:p>
          </p:txBody>
        </p:sp>
      </p:grpSp>
      <p:grpSp>
        <p:nvGrpSpPr>
          <p:cNvPr id="410" name="Group 409"/>
          <p:cNvGrpSpPr/>
          <p:nvPr/>
        </p:nvGrpSpPr>
        <p:grpSpPr>
          <a:xfrm>
            <a:off x="9037681" y="2126117"/>
            <a:ext cx="1329100" cy="447588"/>
            <a:chOff x="1951493" y="1143863"/>
            <a:chExt cx="2087667" cy="743623"/>
          </a:xfrm>
        </p:grpSpPr>
        <p:sp>
          <p:nvSpPr>
            <p:cNvPr id="411" name="TextBox 410"/>
            <p:cNvSpPr txBox="1"/>
            <p:nvPr/>
          </p:nvSpPr>
          <p:spPr>
            <a:xfrm>
              <a:off x="2658535" y="1143863"/>
              <a:ext cx="67358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10CF9B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EP 5</a:t>
              </a:r>
            </a:p>
          </p:txBody>
        </p:sp>
        <p:sp>
          <p:nvSpPr>
            <p:cNvPr id="412" name="TextBox 411"/>
            <p:cNvSpPr txBox="1"/>
            <p:nvPr/>
          </p:nvSpPr>
          <p:spPr>
            <a:xfrm>
              <a:off x="1951493" y="1452847"/>
              <a:ext cx="2087667" cy="4346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liverables </a:t>
              </a:r>
            </a:p>
          </p:txBody>
        </p:sp>
      </p:grpSp>
      <p:grpSp>
        <p:nvGrpSpPr>
          <p:cNvPr id="413" name="Group 412"/>
          <p:cNvGrpSpPr/>
          <p:nvPr/>
        </p:nvGrpSpPr>
        <p:grpSpPr>
          <a:xfrm>
            <a:off x="6070018" y="4612590"/>
            <a:ext cx="1435359" cy="436437"/>
            <a:chOff x="1907193" y="1143863"/>
            <a:chExt cx="2254572" cy="725098"/>
          </a:xfrm>
        </p:grpSpPr>
        <p:sp>
          <p:nvSpPr>
            <p:cNvPr id="414" name="TextBox 413"/>
            <p:cNvSpPr txBox="1"/>
            <p:nvPr/>
          </p:nvSpPr>
          <p:spPr>
            <a:xfrm>
              <a:off x="2658535" y="1143863"/>
              <a:ext cx="67358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F6FC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EP 2</a:t>
              </a:r>
            </a:p>
          </p:txBody>
        </p:sp>
        <p:sp>
          <p:nvSpPr>
            <p:cNvPr id="415" name="TextBox 414"/>
            <p:cNvSpPr txBox="1"/>
            <p:nvPr/>
          </p:nvSpPr>
          <p:spPr>
            <a:xfrm>
              <a:off x="1907193" y="1434323"/>
              <a:ext cx="2254572" cy="4346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pproach document </a:t>
              </a:r>
            </a:p>
          </p:txBody>
        </p:sp>
      </p:grpSp>
      <p:grpSp>
        <p:nvGrpSpPr>
          <p:cNvPr id="416" name="Group 415"/>
          <p:cNvGrpSpPr/>
          <p:nvPr/>
        </p:nvGrpSpPr>
        <p:grpSpPr>
          <a:xfrm>
            <a:off x="8056175" y="4605039"/>
            <a:ext cx="1329100" cy="458740"/>
            <a:chOff x="1951493" y="1143863"/>
            <a:chExt cx="2087667" cy="762151"/>
          </a:xfrm>
        </p:grpSpPr>
        <p:sp>
          <p:nvSpPr>
            <p:cNvPr id="417" name="TextBox 416"/>
            <p:cNvSpPr txBox="1"/>
            <p:nvPr/>
          </p:nvSpPr>
          <p:spPr>
            <a:xfrm>
              <a:off x="2659400" y="1143863"/>
              <a:ext cx="67185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BD0D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EP 4</a:t>
              </a:r>
            </a:p>
          </p:txBody>
        </p:sp>
        <p:sp>
          <p:nvSpPr>
            <p:cNvPr id="418" name="TextBox 417"/>
            <p:cNvSpPr txBox="1"/>
            <p:nvPr/>
          </p:nvSpPr>
          <p:spPr>
            <a:xfrm>
              <a:off x="1951493" y="1471375"/>
              <a:ext cx="2087667" cy="4346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cope of work</a:t>
              </a:r>
            </a:p>
          </p:txBody>
        </p: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6B795BDF-294A-4DA6-9838-EB70886A97E8}"/>
              </a:ext>
            </a:extLst>
          </p:cNvPr>
          <p:cNvGrpSpPr/>
          <p:nvPr/>
        </p:nvGrpSpPr>
        <p:grpSpPr>
          <a:xfrm>
            <a:off x="10087940" y="3026418"/>
            <a:ext cx="1299470" cy="1228556"/>
            <a:chOff x="2955023" y="2855911"/>
            <a:chExt cx="2041126" cy="2041126"/>
          </a:xfrm>
        </p:grpSpPr>
        <p:sp>
          <p:nvSpPr>
            <p:cNvPr id="150" name="Circle: Hollow 149">
              <a:extLst>
                <a:ext uri="{FF2B5EF4-FFF2-40B4-BE49-F238E27FC236}">
                  <a16:creationId xmlns:a16="http://schemas.microsoft.com/office/drawing/2014/main" id="{38DA88B2-7D04-43A7-A5FF-B85CF82AF2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17231" y="3018119"/>
              <a:ext cx="1716710" cy="1716710"/>
            </a:xfrm>
            <a:prstGeom prst="donut">
              <a:avLst>
                <a:gd name="adj" fmla="val 7139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218A583D-CC4B-4CE2-B85C-472FC3B69B40}"/>
                </a:ext>
              </a:extLst>
            </p:cNvPr>
            <p:cNvGrpSpPr/>
            <p:nvPr/>
          </p:nvGrpSpPr>
          <p:grpSpPr>
            <a:xfrm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187" name="Trapezoid 186">
                <a:extLst>
                  <a:ext uri="{FF2B5EF4-FFF2-40B4-BE49-F238E27FC236}">
                    <a16:creationId xmlns:a16="http://schemas.microsoft.com/office/drawing/2014/main" id="{DF823A9A-4E66-4DFB-9398-ADDFCFEF4201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8" name="Trapezoid 187">
                <a:extLst>
                  <a:ext uri="{FF2B5EF4-FFF2-40B4-BE49-F238E27FC236}">
                    <a16:creationId xmlns:a16="http://schemas.microsoft.com/office/drawing/2014/main" id="{174FC916-6AC4-4779-9E3C-A5C1740E5338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71" name="Group 170">
              <a:extLst>
                <a:ext uri="{FF2B5EF4-FFF2-40B4-BE49-F238E27FC236}">
                  <a16:creationId xmlns:a16="http://schemas.microsoft.com/office/drawing/2014/main" id="{FBA770A7-0782-4A20-9E3F-80220CFCA211}"/>
                </a:ext>
              </a:extLst>
            </p:cNvPr>
            <p:cNvGrpSpPr/>
            <p:nvPr/>
          </p:nvGrpSpPr>
          <p:grpSpPr>
            <a:xfrm rot="5400000"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185" name="Trapezoid 184">
                <a:extLst>
                  <a:ext uri="{FF2B5EF4-FFF2-40B4-BE49-F238E27FC236}">
                    <a16:creationId xmlns:a16="http://schemas.microsoft.com/office/drawing/2014/main" id="{3B3FC412-99CF-468D-8EFB-E0CAACBDFEDD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6" name="Trapezoid 185">
                <a:extLst>
                  <a:ext uri="{FF2B5EF4-FFF2-40B4-BE49-F238E27FC236}">
                    <a16:creationId xmlns:a16="http://schemas.microsoft.com/office/drawing/2014/main" id="{07A1E36D-A610-4F5A-B9DF-64FDC623D784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72" name="Group 171">
              <a:extLst>
                <a:ext uri="{FF2B5EF4-FFF2-40B4-BE49-F238E27FC236}">
                  <a16:creationId xmlns:a16="http://schemas.microsoft.com/office/drawing/2014/main" id="{945DD109-AE2E-4452-B237-57E2B03F2435}"/>
                </a:ext>
              </a:extLst>
            </p:cNvPr>
            <p:cNvGrpSpPr/>
            <p:nvPr/>
          </p:nvGrpSpPr>
          <p:grpSpPr>
            <a:xfrm rot="1800000"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183" name="Trapezoid 182">
                <a:extLst>
                  <a:ext uri="{FF2B5EF4-FFF2-40B4-BE49-F238E27FC236}">
                    <a16:creationId xmlns:a16="http://schemas.microsoft.com/office/drawing/2014/main" id="{BCA4197B-A7C1-43FD-921E-0FF197A16DB2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4" name="Trapezoid 183">
                <a:extLst>
                  <a:ext uri="{FF2B5EF4-FFF2-40B4-BE49-F238E27FC236}">
                    <a16:creationId xmlns:a16="http://schemas.microsoft.com/office/drawing/2014/main" id="{3323B0CC-059F-4F35-AC46-E1C173B2886C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73" name="Group 172">
              <a:extLst>
                <a:ext uri="{FF2B5EF4-FFF2-40B4-BE49-F238E27FC236}">
                  <a16:creationId xmlns:a16="http://schemas.microsoft.com/office/drawing/2014/main" id="{087B9282-4922-46D3-A0C6-26752D455347}"/>
                </a:ext>
              </a:extLst>
            </p:cNvPr>
            <p:cNvGrpSpPr/>
            <p:nvPr/>
          </p:nvGrpSpPr>
          <p:grpSpPr>
            <a:xfrm rot="3600000"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181" name="Trapezoid 180">
                <a:extLst>
                  <a:ext uri="{FF2B5EF4-FFF2-40B4-BE49-F238E27FC236}">
                    <a16:creationId xmlns:a16="http://schemas.microsoft.com/office/drawing/2014/main" id="{E02D65DB-464C-400F-A942-021592AB58E6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2" name="Trapezoid 181">
                <a:extLst>
                  <a:ext uri="{FF2B5EF4-FFF2-40B4-BE49-F238E27FC236}">
                    <a16:creationId xmlns:a16="http://schemas.microsoft.com/office/drawing/2014/main" id="{D4E5FEFF-06A8-4B65-B33D-B71671FA290F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74" name="Group 173">
              <a:extLst>
                <a:ext uri="{FF2B5EF4-FFF2-40B4-BE49-F238E27FC236}">
                  <a16:creationId xmlns:a16="http://schemas.microsoft.com/office/drawing/2014/main" id="{243AB407-FC96-4523-A9A7-7E27ACDE292A}"/>
                </a:ext>
              </a:extLst>
            </p:cNvPr>
            <p:cNvGrpSpPr/>
            <p:nvPr/>
          </p:nvGrpSpPr>
          <p:grpSpPr>
            <a:xfrm rot="7200000"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179" name="Trapezoid 178">
                <a:extLst>
                  <a:ext uri="{FF2B5EF4-FFF2-40B4-BE49-F238E27FC236}">
                    <a16:creationId xmlns:a16="http://schemas.microsoft.com/office/drawing/2014/main" id="{05347C90-78CE-4811-8B9C-4F4EB3240FF4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0" name="Trapezoid 179">
                <a:extLst>
                  <a:ext uri="{FF2B5EF4-FFF2-40B4-BE49-F238E27FC236}">
                    <a16:creationId xmlns:a16="http://schemas.microsoft.com/office/drawing/2014/main" id="{4D7470D6-939D-41E5-8649-28BE64837DE1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AB6896E0-DECD-4737-A209-830AA0AAB2F6}"/>
                </a:ext>
              </a:extLst>
            </p:cNvPr>
            <p:cNvGrpSpPr/>
            <p:nvPr/>
          </p:nvGrpSpPr>
          <p:grpSpPr>
            <a:xfrm rot="9000000"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177" name="Trapezoid 176">
                <a:extLst>
                  <a:ext uri="{FF2B5EF4-FFF2-40B4-BE49-F238E27FC236}">
                    <a16:creationId xmlns:a16="http://schemas.microsoft.com/office/drawing/2014/main" id="{9DBFE378-5285-4AC8-935E-EA4E4042476B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8" name="Trapezoid 177">
                <a:extLst>
                  <a:ext uri="{FF2B5EF4-FFF2-40B4-BE49-F238E27FC236}">
                    <a16:creationId xmlns:a16="http://schemas.microsoft.com/office/drawing/2014/main" id="{B2393912-6497-46FA-9841-EF6E276FC308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15280A70-9BEC-4C5F-8C38-13160DBB73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69172" y="3175844"/>
              <a:ext cx="1408186" cy="14081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D521FF4D-C38B-4C5B-AE47-8A966FB6129E}"/>
              </a:ext>
            </a:extLst>
          </p:cNvPr>
          <p:cNvGrpSpPr/>
          <p:nvPr/>
        </p:nvGrpSpPr>
        <p:grpSpPr>
          <a:xfrm>
            <a:off x="9829946" y="4598970"/>
            <a:ext cx="1937983" cy="458740"/>
            <a:chOff x="1588511" y="1143863"/>
            <a:chExt cx="3044062" cy="762151"/>
          </a:xfrm>
        </p:grpSpPr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DE58C1CC-661F-4EA2-86E9-245544691638}"/>
                </a:ext>
              </a:extLst>
            </p:cNvPr>
            <p:cNvSpPr txBox="1"/>
            <p:nvPr/>
          </p:nvSpPr>
          <p:spPr>
            <a:xfrm>
              <a:off x="2658535" y="1143863"/>
              <a:ext cx="67358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ED7D31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EP 6</a:t>
              </a:r>
            </a:p>
          </p:txBody>
        </p:sp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54AB91B5-8EC4-4254-BB22-21F7AFAF31C1}"/>
                </a:ext>
              </a:extLst>
            </p:cNvPr>
            <p:cNvSpPr txBox="1"/>
            <p:nvPr/>
          </p:nvSpPr>
          <p:spPr>
            <a:xfrm>
              <a:off x="1588511" y="1471375"/>
              <a:ext cx="3044062" cy="4346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b="1" kern="0" dirty="0">
                  <a:solidFill>
                    <a:srgbClr val="70AD47">
                      <a:lumMod val="75000"/>
                    </a:srgbClr>
                  </a:solidFill>
                  <a:latin typeface="Calibri"/>
                </a:rPr>
                <a:t>Implementation Deployment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92" name="Arc 191">
            <a:extLst>
              <a:ext uri="{FF2B5EF4-FFF2-40B4-BE49-F238E27FC236}">
                <a16:creationId xmlns:a16="http://schemas.microsoft.com/office/drawing/2014/main" id="{931DB14C-E1D6-4A16-A1AB-8E4E2AF17FAE}"/>
              </a:ext>
            </a:extLst>
          </p:cNvPr>
          <p:cNvSpPr/>
          <p:nvPr/>
        </p:nvSpPr>
        <p:spPr>
          <a:xfrm rot="10800000">
            <a:off x="10293716" y="3957414"/>
            <a:ext cx="937553" cy="550378"/>
          </a:xfrm>
          <a:prstGeom prst="arc">
            <a:avLst>
              <a:gd name="adj1" fmla="val 11819633"/>
              <a:gd name="adj2" fmla="val 20612193"/>
            </a:avLst>
          </a:prstGeom>
          <a:ln w="57150">
            <a:solidFill>
              <a:schemeClr val="bg1">
                <a:lumMod val="85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F456E4FC-3FFB-4D96-AE5E-EE2545373EF1}"/>
              </a:ext>
            </a:extLst>
          </p:cNvPr>
          <p:cNvCxnSpPr>
            <a:cxnSpLocks/>
          </p:cNvCxnSpPr>
          <p:nvPr/>
        </p:nvCxnSpPr>
        <p:spPr>
          <a:xfrm rot="16200000" flipH="1">
            <a:off x="6361393" y="5141345"/>
            <a:ext cx="629381" cy="481262"/>
          </a:xfrm>
          <a:prstGeom prst="bentConnector3">
            <a:avLst>
              <a:gd name="adj1" fmla="val 130919"/>
            </a:avLst>
          </a:prstGeom>
          <a:ln>
            <a:prstDash val="sys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3326F657-7C0D-400F-8B6C-FFC7CC9D7707}"/>
              </a:ext>
            </a:extLst>
          </p:cNvPr>
          <p:cNvSpPr txBox="1"/>
          <p:nvPr/>
        </p:nvSpPr>
        <p:spPr>
          <a:xfrm>
            <a:off x="6576965" y="5288216"/>
            <a:ext cx="12750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posal for the workshop</a:t>
            </a:r>
          </a:p>
        </p:txBody>
      </p:sp>
      <p:cxnSp>
        <p:nvCxnSpPr>
          <p:cNvPr id="195" name="Connector: Elbow 194">
            <a:extLst>
              <a:ext uri="{FF2B5EF4-FFF2-40B4-BE49-F238E27FC236}">
                <a16:creationId xmlns:a16="http://schemas.microsoft.com/office/drawing/2014/main" id="{F879524F-AD18-4AD1-A887-495CEE0B01F8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485954" y="1522285"/>
            <a:ext cx="629381" cy="481262"/>
          </a:xfrm>
          <a:prstGeom prst="bentConnector3">
            <a:avLst>
              <a:gd name="adj1" fmla="val 138275"/>
            </a:avLst>
          </a:prstGeom>
          <a:ln>
            <a:prstDash val="sys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TextBox 196">
            <a:extLst>
              <a:ext uri="{FF2B5EF4-FFF2-40B4-BE49-F238E27FC236}">
                <a16:creationId xmlns:a16="http://schemas.microsoft.com/office/drawing/2014/main" id="{470D9736-9F08-4B9B-BAE3-B4E1E49EF96B}"/>
              </a:ext>
            </a:extLst>
          </p:cNvPr>
          <p:cNvSpPr txBox="1"/>
          <p:nvPr/>
        </p:nvSpPr>
        <p:spPr>
          <a:xfrm>
            <a:off x="7541833" y="1519003"/>
            <a:ext cx="17717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 vision exercis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quirement analysis</a:t>
            </a:r>
          </a:p>
        </p:txBody>
      </p:sp>
      <p:cxnSp>
        <p:nvCxnSpPr>
          <p:cNvPr id="198" name="Connector: Elbow 197">
            <a:extLst>
              <a:ext uri="{FF2B5EF4-FFF2-40B4-BE49-F238E27FC236}">
                <a16:creationId xmlns:a16="http://schemas.microsoft.com/office/drawing/2014/main" id="{923AEC81-4363-481A-96DF-80080CC26257}"/>
              </a:ext>
            </a:extLst>
          </p:cNvPr>
          <p:cNvCxnSpPr>
            <a:cxnSpLocks/>
          </p:cNvCxnSpPr>
          <p:nvPr/>
        </p:nvCxnSpPr>
        <p:spPr>
          <a:xfrm rot="16200000" flipH="1">
            <a:off x="8369651" y="5177950"/>
            <a:ext cx="629381" cy="481262"/>
          </a:xfrm>
          <a:prstGeom prst="bentConnector3">
            <a:avLst>
              <a:gd name="adj1" fmla="val 130919"/>
            </a:avLst>
          </a:prstGeom>
          <a:ln>
            <a:prstDash val="sys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TextBox 198">
            <a:extLst>
              <a:ext uri="{FF2B5EF4-FFF2-40B4-BE49-F238E27FC236}">
                <a16:creationId xmlns:a16="http://schemas.microsoft.com/office/drawing/2014/main" id="{100C4526-6830-4458-827F-A062E27FCEA7}"/>
              </a:ext>
            </a:extLst>
          </p:cNvPr>
          <p:cNvSpPr txBox="1"/>
          <p:nvPr/>
        </p:nvSpPr>
        <p:spPr>
          <a:xfrm>
            <a:off x="8484781" y="5289205"/>
            <a:ext cx="12750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lution overvie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nctional overview</a:t>
            </a:r>
          </a:p>
        </p:txBody>
      </p:sp>
      <p:cxnSp>
        <p:nvCxnSpPr>
          <p:cNvPr id="200" name="Connector: Elbow 199">
            <a:extLst>
              <a:ext uri="{FF2B5EF4-FFF2-40B4-BE49-F238E27FC236}">
                <a16:creationId xmlns:a16="http://schemas.microsoft.com/office/drawing/2014/main" id="{000BE331-271A-4035-8C47-86AAA45AFD2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9190940" y="1522451"/>
            <a:ext cx="861775" cy="276053"/>
          </a:xfrm>
          <a:prstGeom prst="bentConnector3">
            <a:avLst>
              <a:gd name="adj1" fmla="val 117156"/>
            </a:avLst>
          </a:prstGeom>
          <a:ln>
            <a:prstDash val="sys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TextBox 200">
            <a:extLst>
              <a:ext uri="{FF2B5EF4-FFF2-40B4-BE49-F238E27FC236}">
                <a16:creationId xmlns:a16="http://schemas.microsoft.com/office/drawing/2014/main" id="{2EB827CD-57A4-4184-9073-23B8CE987F6A}"/>
              </a:ext>
            </a:extLst>
          </p:cNvPr>
          <p:cNvSpPr txBox="1"/>
          <p:nvPr/>
        </p:nvSpPr>
        <p:spPr>
          <a:xfrm>
            <a:off x="9583434" y="1338685"/>
            <a:ext cx="154087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refram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FP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C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VP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ed product</a:t>
            </a:r>
          </a:p>
        </p:txBody>
      </p:sp>
      <p:cxnSp>
        <p:nvCxnSpPr>
          <p:cNvPr id="209" name="Connector: Elbow 208">
            <a:extLst>
              <a:ext uri="{FF2B5EF4-FFF2-40B4-BE49-F238E27FC236}">
                <a16:creationId xmlns:a16="http://schemas.microsoft.com/office/drawing/2014/main" id="{967F8957-B92C-4E48-A2AA-B33FB7AC2F0B}"/>
              </a:ext>
            </a:extLst>
          </p:cNvPr>
          <p:cNvCxnSpPr>
            <a:cxnSpLocks/>
          </p:cNvCxnSpPr>
          <p:nvPr/>
        </p:nvCxnSpPr>
        <p:spPr>
          <a:xfrm rot="16200000" flipH="1">
            <a:off x="10367266" y="5149506"/>
            <a:ext cx="629381" cy="481262"/>
          </a:xfrm>
          <a:prstGeom prst="bentConnector3">
            <a:avLst>
              <a:gd name="adj1" fmla="val 130919"/>
            </a:avLst>
          </a:prstGeom>
          <a:ln>
            <a:prstDash val="sys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TextBox 209">
            <a:extLst>
              <a:ext uri="{FF2B5EF4-FFF2-40B4-BE49-F238E27FC236}">
                <a16:creationId xmlns:a16="http://schemas.microsoft.com/office/drawing/2014/main" id="{5623C04B-054A-47BC-808F-F642465FBBAF}"/>
              </a:ext>
            </a:extLst>
          </p:cNvPr>
          <p:cNvSpPr txBox="1"/>
          <p:nvPr/>
        </p:nvSpPr>
        <p:spPr>
          <a:xfrm>
            <a:off x="10511169" y="5246220"/>
            <a:ext cx="12750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al Delivery of solution to the client</a:t>
            </a:r>
          </a:p>
        </p:txBody>
      </p:sp>
      <p:cxnSp>
        <p:nvCxnSpPr>
          <p:cNvPr id="211" name="Connector: Elbow 210">
            <a:extLst>
              <a:ext uri="{FF2B5EF4-FFF2-40B4-BE49-F238E27FC236}">
                <a16:creationId xmlns:a16="http://schemas.microsoft.com/office/drawing/2014/main" id="{A2C64B6F-F465-4664-BCA4-CCDE6BA37B60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476661" y="1431140"/>
            <a:ext cx="629381" cy="481262"/>
          </a:xfrm>
          <a:prstGeom prst="bentConnector3">
            <a:avLst>
              <a:gd name="adj1" fmla="val 138275"/>
            </a:avLst>
          </a:prstGeom>
          <a:ln>
            <a:prstDash val="sys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TextBox 211">
            <a:extLst>
              <a:ext uri="{FF2B5EF4-FFF2-40B4-BE49-F238E27FC236}">
                <a16:creationId xmlns:a16="http://schemas.microsoft.com/office/drawing/2014/main" id="{7A8FE325-A9A4-4432-94DB-F811A2DED2F7}"/>
              </a:ext>
            </a:extLst>
          </p:cNvPr>
          <p:cNvSpPr txBox="1"/>
          <p:nvPr/>
        </p:nvSpPr>
        <p:spPr>
          <a:xfrm>
            <a:off x="5530868" y="1452184"/>
            <a:ext cx="19166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lution is given directly if the pain areas of the client is known</a:t>
            </a:r>
          </a:p>
        </p:txBody>
      </p:sp>
      <p:grpSp>
        <p:nvGrpSpPr>
          <p:cNvPr id="284" name="Group 283">
            <a:extLst>
              <a:ext uri="{FF2B5EF4-FFF2-40B4-BE49-F238E27FC236}">
                <a16:creationId xmlns:a16="http://schemas.microsoft.com/office/drawing/2014/main" id="{EC953920-0EDE-4532-BB34-75A2BB152B35}"/>
              </a:ext>
            </a:extLst>
          </p:cNvPr>
          <p:cNvGrpSpPr/>
          <p:nvPr/>
        </p:nvGrpSpPr>
        <p:grpSpPr>
          <a:xfrm>
            <a:off x="3147893" y="3051655"/>
            <a:ext cx="1071644" cy="72876"/>
            <a:chOff x="7333979" y="3192220"/>
            <a:chExt cx="1789652" cy="112331"/>
          </a:xfrm>
        </p:grpSpPr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AEDA3EB7-5D9D-4389-94C9-71A9828F7B3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3979" y="3192220"/>
              <a:ext cx="112331" cy="11233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99" name="Straight Connector 298">
              <a:extLst>
                <a:ext uri="{FF2B5EF4-FFF2-40B4-BE49-F238E27FC236}">
                  <a16:creationId xmlns:a16="http://schemas.microsoft.com/office/drawing/2014/main" id="{7EAFAA0C-7A98-402C-B90D-235096B61B28}"/>
                </a:ext>
              </a:extLst>
            </p:cNvPr>
            <p:cNvCxnSpPr>
              <a:stCxn id="298" idx="6"/>
            </p:cNvCxnSpPr>
            <p:nvPr/>
          </p:nvCxnSpPr>
          <p:spPr>
            <a:xfrm>
              <a:off x="7446310" y="3248386"/>
              <a:ext cx="1677321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5" name="Group 284">
            <a:extLst>
              <a:ext uri="{FF2B5EF4-FFF2-40B4-BE49-F238E27FC236}">
                <a16:creationId xmlns:a16="http://schemas.microsoft.com/office/drawing/2014/main" id="{32075186-5206-47F5-8FE9-654764B564F6}"/>
              </a:ext>
            </a:extLst>
          </p:cNvPr>
          <p:cNvGrpSpPr/>
          <p:nvPr/>
        </p:nvGrpSpPr>
        <p:grpSpPr>
          <a:xfrm>
            <a:off x="3147893" y="4789323"/>
            <a:ext cx="1071644" cy="72876"/>
            <a:chOff x="7333979" y="3192220"/>
            <a:chExt cx="1789652" cy="112331"/>
          </a:xfrm>
        </p:grpSpPr>
        <p:sp>
          <p:nvSpPr>
            <p:cNvPr id="296" name="Oval 295">
              <a:extLst>
                <a:ext uri="{FF2B5EF4-FFF2-40B4-BE49-F238E27FC236}">
                  <a16:creationId xmlns:a16="http://schemas.microsoft.com/office/drawing/2014/main" id="{BF63A884-51D3-4C89-8DAA-FF50328B9C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3979" y="3192220"/>
              <a:ext cx="112331" cy="11233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97" name="Straight Connector 296">
              <a:extLst>
                <a:ext uri="{FF2B5EF4-FFF2-40B4-BE49-F238E27FC236}">
                  <a16:creationId xmlns:a16="http://schemas.microsoft.com/office/drawing/2014/main" id="{867ADC1D-B63D-4642-AFE4-8DA0BC9CECB8}"/>
                </a:ext>
              </a:extLst>
            </p:cNvPr>
            <p:cNvCxnSpPr>
              <a:stCxn id="296" idx="6"/>
            </p:cNvCxnSpPr>
            <p:nvPr/>
          </p:nvCxnSpPr>
          <p:spPr>
            <a:xfrm>
              <a:off x="7446310" y="3248386"/>
              <a:ext cx="1677321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6" name="Group 285">
            <a:extLst>
              <a:ext uri="{FF2B5EF4-FFF2-40B4-BE49-F238E27FC236}">
                <a16:creationId xmlns:a16="http://schemas.microsoft.com/office/drawing/2014/main" id="{40664F8D-C6A9-479B-8F5F-B86119AC9204}"/>
              </a:ext>
            </a:extLst>
          </p:cNvPr>
          <p:cNvGrpSpPr/>
          <p:nvPr/>
        </p:nvGrpSpPr>
        <p:grpSpPr>
          <a:xfrm flipH="1">
            <a:off x="413504" y="2185349"/>
            <a:ext cx="1071644" cy="72876"/>
            <a:chOff x="7333979" y="3192220"/>
            <a:chExt cx="1789652" cy="112331"/>
          </a:xfrm>
        </p:grpSpPr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BFCEC8E3-5882-4F3B-B2B0-FC441B0937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3979" y="3192220"/>
              <a:ext cx="112331" cy="11233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95" name="Straight Connector 294">
              <a:extLst>
                <a:ext uri="{FF2B5EF4-FFF2-40B4-BE49-F238E27FC236}">
                  <a16:creationId xmlns:a16="http://schemas.microsoft.com/office/drawing/2014/main" id="{0C7F7EC5-80C4-4AE2-9261-CBFA779961FF}"/>
                </a:ext>
              </a:extLst>
            </p:cNvPr>
            <p:cNvCxnSpPr>
              <a:stCxn id="294" idx="6"/>
            </p:cNvCxnSpPr>
            <p:nvPr/>
          </p:nvCxnSpPr>
          <p:spPr>
            <a:xfrm>
              <a:off x="7446310" y="3248386"/>
              <a:ext cx="1677321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7" name="Group 286">
            <a:extLst>
              <a:ext uri="{FF2B5EF4-FFF2-40B4-BE49-F238E27FC236}">
                <a16:creationId xmlns:a16="http://schemas.microsoft.com/office/drawing/2014/main" id="{0A86FD36-FEBF-4A43-ABE3-2D6D0987D611}"/>
              </a:ext>
            </a:extLst>
          </p:cNvPr>
          <p:cNvGrpSpPr/>
          <p:nvPr/>
        </p:nvGrpSpPr>
        <p:grpSpPr>
          <a:xfrm flipH="1">
            <a:off x="413504" y="3923018"/>
            <a:ext cx="1071644" cy="72876"/>
            <a:chOff x="7333979" y="3192220"/>
            <a:chExt cx="1789652" cy="112331"/>
          </a:xfrm>
        </p:grpSpPr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BD6A198C-F4F9-4DB3-A182-FF3080CE59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3979" y="3192220"/>
              <a:ext cx="112331" cy="11233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93" name="Straight Connector 292">
              <a:extLst>
                <a:ext uri="{FF2B5EF4-FFF2-40B4-BE49-F238E27FC236}">
                  <a16:creationId xmlns:a16="http://schemas.microsoft.com/office/drawing/2014/main" id="{D711E96E-1C2B-4EB1-966A-0A6753B58ED6}"/>
                </a:ext>
              </a:extLst>
            </p:cNvPr>
            <p:cNvCxnSpPr>
              <a:stCxn id="292" idx="6"/>
            </p:cNvCxnSpPr>
            <p:nvPr/>
          </p:nvCxnSpPr>
          <p:spPr>
            <a:xfrm>
              <a:off x="7446310" y="3248386"/>
              <a:ext cx="1677321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8" name="Round Same Side Corner Rectangle 8">
            <a:extLst>
              <a:ext uri="{FF2B5EF4-FFF2-40B4-BE49-F238E27FC236}">
                <a16:creationId xmlns:a16="http://schemas.microsoft.com/office/drawing/2014/main" id="{72CF1C31-E243-419E-A77D-2D97B0B4EFA9}"/>
              </a:ext>
            </a:extLst>
          </p:cNvPr>
          <p:cNvSpPr/>
          <p:nvPr/>
        </p:nvSpPr>
        <p:spPr>
          <a:xfrm flipH="1">
            <a:off x="1830360" y="1995634"/>
            <a:ext cx="457200" cy="452307"/>
          </a:xfrm>
          <a:custGeom>
            <a:avLst/>
            <a:gdLst/>
            <a:ahLst/>
            <a:cxnLst/>
            <a:rect l="l" t="t" r="r" b="b"/>
            <a:pathLst>
              <a:path w="3197597" h="3202496">
                <a:moveTo>
                  <a:pt x="601421" y="1611393"/>
                </a:moveTo>
                <a:lnTo>
                  <a:pt x="2596176" y="1611393"/>
                </a:lnTo>
                <a:cubicBezTo>
                  <a:pt x="2928331" y="1611393"/>
                  <a:pt x="3197594" y="1880656"/>
                  <a:pt x="3197594" y="2212811"/>
                </a:cubicBezTo>
                <a:lnTo>
                  <a:pt x="3197594" y="2776360"/>
                </a:lnTo>
                <a:lnTo>
                  <a:pt x="3197597" y="2776360"/>
                </a:lnTo>
                <a:lnTo>
                  <a:pt x="3197597" y="2914824"/>
                </a:lnTo>
                <a:lnTo>
                  <a:pt x="3197198" y="2914824"/>
                </a:lnTo>
                <a:lnTo>
                  <a:pt x="3197198" y="3202496"/>
                </a:lnTo>
                <a:lnTo>
                  <a:pt x="398" y="3202496"/>
                </a:lnTo>
                <a:lnTo>
                  <a:pt x="398" y="2914824"/>
                </a:lnTo>
                <a:lnTo>
                  <a:pt x="0" y="2914824"/>
                </a:lnTo>
                <a:lnTo>
                  <a:pt x="0" y="2212811"/>
                </a:lnTo>
                <a:cubicBezTo>
                  <a:pt x="0" y="1880656"/>
                  <a:pt x="269266" y="1611393"/>
                  <a:pt x="601421" y="1611393"/>
                </a:cubicBezTo>
                <a:close/>
                <a:moveTo>
                  <a:pt x="1598801" y="0"/>
                </a:moveTo>
                <a:cubicBezTo>
                  <a:pt x="1998649" y="0"/>
                  <a:pt x="2322791" y="324142"/>
                  <a:pt x="2322791" y="723993"/>
                </a:cubicBezTo>
                <a:cubicBezTo>
                  <a:pt x="2322791" y="1123843"/>
                  <a:pt x="1998649" y="1447985"/>
                  <a:pt x="1598801" y="1447985"/>
                </a:cubicBezTo>
                <a:cubicBezTo>
                  <a:pt x="1198951" y="1447985"/>
                  <a:pt x="874809" y="1123843"/>
                  <a:pt x="874809" y="723993"/>
                </a:cubicBezTo>
                <a:cubicBezTo>
                  <a:pt x="874809" y="324142"/>
                  <a:pt x="1198951" y="0"/>
                  <a:pt x="15988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289" name="Donut 24">
            <a:extLst>
              <a:ext uri="{FF2B5EF4-FFF2-40B4-BE49-F238E27FC236}">
                <a16:creationId xmlns:a16="http://schemas.microsoft.com/office/drawing/2014/main" id="{E3957C87-8EF7-4B7B-AB51-EEBFD3A473D9}"/>
              </a:ext>
            </a:extLst>
          </p:cNvPr>
          <p:cNvSpPr/>
          <p:nvPr/>
        </p:nvSpPr>
        <p:spPr>
          <a:xfrm>
            <a:off x="2302040" y="2861829"/>
            <a:ext cx="457200" cy="452529"/>
          </a:xfrm>
          <a:custGeom>
            <a:avLst/>
            <a:gdLst/>
            <a:ahLst/>
            <a:cxnLst/>
            <a:rect l="l" t="t" r="r" b="b"/>
            <a:pathLst>
              <a:path w="3208412" h="3234532">
                <a:moveTo>
                  <a:pt x="1561445" y="1065858"/>
                </a:moveTo>
                <a:cubicBezTo>
                  <a:pt x="1654998" y="1065858"/>
                  <a:pt x="1743610" y="1087015"/>
                  <a:pt x="1821879" y="1126644"/>
                </a:cubicBezTo>
                <a:lnTo>
                  <a:pt x="1611352" y="1337172"/>
                </a:lnTo>
                <a:cubicBezTo>
                  <a:pt x="1595200" y="1333388"/>
                  <a:pt x="1578468" y="1332141"/>
                  <a:pt x="1561445" y="1332141"/>
                </a:cubicBezTo>
                <a:cubicBezTo>
                  <a:pt x="1373145" y="1332141"/>
                  <a:pt x="1220499" y="1484787"/>
                  <a:pt x="1220499" y="1673087"/>
                </a:cubicBezTo>
                <a:cubicBezTo>
                  <a:pt x="1220499" y="1861387"/>
                  <a:pt x="1373145" y="2014033"/>
                  <a:pt x="1561445" y="2014033"/>
                </a:cubicBezTo>
                <a:cubicBezTo>
                  <a:pt x="1749745" y="2014033"/>
                  <a:pt x="1902391" y="1861387"/>
                  <a:pt x="1902391" y="1673087"/>
                </a:cubicBezTo>
                <a:cubicBezTo>
                  <a:pt x="1902391" y="1643675"/>
                  <a:pt x="1898667" y="1615133"/>
                  <a:pt x="1890450" y="1588219"/>
                </a:cubicBezTo>
                <a:lnTo>
                  <a:pt x="2093156" y="1385512"/>
                </a:lnTo>
                <a:cubicBezTo>
                  <a:pt x="2142229" y="1470075"/>
                  <a:pt x="2168674" y="1568493"/>
                  <a:pt x="2168674" y="1673087"/>
                </a:cubicBezTo>
                <a:cubicBezTo>
                  <a:pt x="2168674" y="2008450"/>
                  <a:pt x="1896808" y="2280316"/>
                  <a:pt x="1561445" y="2280316"/>
                </a:cubicBezTo>
                <a:cubicBezTo>
                  <a:pt x="1226082" y="2280316"/>
                  <a:pt x="954217" y="2008450"/>
                  <a:pt x="954217" y="1673087"/>
                </a:cubicBezTo>
                <a:cubicBezTo>
                  <a:pt x="954217" y="1337724"/>
                  <a:pt x="1226082" y="1065858"/>
                  <a:pt x="1561445" y="1065858"/>
                </a:cubicBezTo>
                <a:close/>
                <a:moveTo>
                  <a:pt x="1561445" y="580076"/>
                </a:moveTo>
                <a:cubicBezTo>
                  <a:pt x="1790175" y="580076"/>
                  <a:pt x="2002494" y="650333"/>
                  <a:pt x="2177834" y="770690"/>
                </a:cubicBezTo>
                <a:lnTo>
                  <a:pt x="1968030" y="980494"/>
                </a:lnTo>
                <a:cubicBezTo>
                  <a:pt x="1849962" y="907198"/>
                  <a:pt x="1710422" y="866794"/>
                  <a:pt x="1561445" y="866794"/>
                </a:cubicBezTo>
                <a:cubicBezTo>
                  <a:pt x="1116142" y="866794"/>
                  <a:pt x="755153" y="1227784"/>
                  <a:pt x="755153" y="1673087"/>
                </a:cubicBezTo>
                <a:cubicBezTo>
                  <a:pt x="755153" y="2118390"/>
                  <a:pt x="1116142" y="2479380"/>
                  <a:pt x="1561445" y="2479380"/>
                </a:cubicBezTo>
                <a:cubicBezTo>
                  <a:pt x="2006748" y="2479380"/>
                  <a:pt x="2367738" y="2118390"/>
                  <a:pt x="2367738" y="1673087"/>
                </a:cubicBezTo>
                <a:cubicBezTo>
                  <a:pt x="2367738" y="1513043"/>
                  <a:pt x="2321108" y="1363890"/>
                  <a:pt x="2239307" y="1239362"/>
                </a:cubicBezTo>
                <a:lnTo>
                  <a:pt x="2445928" y="1032741"/>
                </a:lnTo>
                <a:cubicBezTo>
                  <a:pt x="2577451" y="1212149"/>
                  <a:pt x="2654457" y="1433625"/>
                  <a:pt x="2654457" y="1673087"/>
                </a:cubicBezTo>
                <a:cubicBezTo>
                  <a:pt x="2654457" y="2276741"/>
                  <a:pt x="2165099" y="2766099"/>
                  <a:pt x="1561445" y="2766099"/>
                </a:cubicBezTo>
                <a:cubicBezTo>
                  <a:pt x="957792" y="2766099"/>
                  <a:pt x="468434" y="2276741"/>
                  <a:pt x="468434" y="1673087"/>
                </a:cubicBezTo>
                <a:cubicBezTo>
                  <a:pt x="468434" y="1069433"/>
                  <a:pt x="957792" y="580076"/>
                  <a:pt x="1561445" y="580076"/>
                </a:cubicBezTo>
                <a:close/>
                <a:moveTo>
                  <a:pt x="1561445" y="111642"/>
                </a:moveTo>
                <a:cubicBezTo>
                  <a:pt x="1890473" y="111642"/>
                  <a:pt x="2195731" y="213411"/>
                  <a:pt x="2447076" y="387744"/>
                </a:cubicBezTo>
                <a:lnTo>
                  <a:pt x="2453780" y="494744"/>
                </a:lnTo>
                <a:lnTo>
                  <a:pt x="2309436" y="639088"/>
                </a:lnTo>
                <a:cubicBezTo>
                  <a:pt x="2099826" y="485554"/>
                  <a:pt x="1841132" y="395669"/>
                  <a:pt x="1561445" y="395669"/>
                </a:cubicBezTo>
                <a:cubicBezTo>
                  <a:pt x="855947" y="395669"/>
                  <a:pt x="284027" y="967589"/>
                  <a:pt x="284027" y="1673087"/>
                </a:cubicBezTo>
                <a:cubicBezTo>
                  <a:pt x="284027" y="2378585"/>
                  <a:pt x="855947" y="2950505"/>
                  <a:pt x="1561445" y="2950505"/>
                </a:cubicBezTo>
                <a:cubicBezTo>
                  <a:pt x="2266943" y="2950505"/>
                  <a:pt x="2838863" y="2378585"/>
                  <a:pt x="2838863" y="1673087"/>
                </a:cubicBezTo>
                <a:cubicBezTo>
                  <a:pt x="2838863" y="1382650"/>
                  <a:pt x="2741936" y="1114852"/>
                  <a:pt x="2577529" y="901139"/>
                </a:cubicBezTo>
                <a:lnTo>
                  <a:pt x="2706681" y="771988"/>
                </a:lnTo>
                <a:lnTo>
                  <a:pt x="2841540" y="780437"/>
                </a:lnTo>
                <a:cubicBezTo>
                  <a:pt x="3019168" y="1032973"/>
                  <a:pt x="3122890" y="1340917"/>
                  <a:pt x="3122890" y="1673087"/>
                </a:cubicBezTo>
                <a:cubicBezTo>
                  <a:pt x="3122890" y="2535449"/>
                  <a:pt x="2423807" y="3234532"/>
                  <a:pt x="1561445" y="3234532"/>
                </a:cubicBezTo>
                <a:cubicBezTo>
                  <a:pt x="699083" y="3234532"/>
                  <a:pt x="0" y="2535449"/>
                  <a:pt x="0" y="1673087"/>
                </a:cubicBezTo>
                <a:cubicBezTo>
                  <a:pt x="0" y="810725"/>
                  <a:pt x="699083" y="111642"/>
                  <a:pt x="1561445" y="111642"/>
                </a:cubicBezTo>
                <a:close/>
                <a:moveTo>
                  <a:pt x="2909110" y="0"/>
                </a:moveTo>
                <a:lnTo>
                  <a:pt x="2926757" y="281655"/>
                </a:lnTo>
                <a:lnTo>
                  <a:pt x="3208412" y="299301"/>
                </a:lnTo>
                <a:lnTo>
                  <a:pt x="2863230" y="644483"/>
                </a:lnTo>
                <a:lnTo>
                  <a:pt x="2685547" y="633351"/>
                </a:lnTo>
                <a:lnTo>
                  <a:pt x="1718098" y="1600799"/>
                </a:lnTo>
                <a:cubicBezTo>
                  <a:pt x="1729236" y="1622491"/>
                  <a:pt x="1734939" y="1647123"/>
                  <a:pt x="1734939" y="1673087"/>
                </a:cubicBezTo>
                <a:cubicBezTo>
                  <a:pt x="1734939" y="1768905"/>
                  <a:pt x="1657263" y="1846581"/>
                  <a:pt x="1561445" y="1846581"/>
                </a:cubicBezTo>
                <a:cubicBezTo>
                  <a:pt x="1465627" y="1846581"/>
                  <a:pt x="1387951" y="1768905"/>
                  <a:pt x="1387951" y="1673087"/>
                </a:cubicBezTo>
                <a:cubicBezTo>
                  <a:pt x="1387951" y="1577269"/>
                  <a:pt x="1465627" y="1499593"/>
                  <a:pt x="1561445" y="1499593"/>
                </a:cubicBezTo>
                <a:lnTo>
                  <a:pt x="1591006" y="1505561"/>
                </a:lnTo>
                <a:lnTo>
                  <a:pt x="2574981" y="521587"/>
                </a:lnTo>
                <a:lnTo>
                  <a:pt x="2563928" y="34518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290" name="Isosceles Triangle 68">
            <a:extLst>
              <a:ext uri="{FF2B5EF4-FFF2-40B4-BE49-F238E27FC236}">
                <a16:creationId xmlns:a16="http://schemas.microsoft.com/office/drawing/2014/main" id="{ADC04D68-A02B-411D-A6C4-019B5EADEE5C}"/>
              </a:ext>
            </a:extLst>
          </p:cNvPr>
          <p:cNvSpPr/>
          <p:nvPr/>
        </p:nvSpPr>
        <p:spPr>
          <a:xfrm rot="10800000">
            <a:off x="1920352" y="3730856"/>
            <a:ext cx="274320" cy="457200"/>
          </a:xfrm>
          <a:custGeom>
            <a:avLst/>
            <a:gdLst/>
            <a:ahLst/>
            <a:cxnLst/>
            <a:rect l="l" t="t" r="r" b="b"/>
            <a:pathLst>
              <a:path w="1040400" h="3240000">
                <a:moveTo>
                  <a:pt x="41345" y="940666"/>
                </a:moveTo>
                <a:lnTo>
                  <a:pt x="1242" y="653403"/>
                </a:lnTo>
                <a:lnTo>
                  <a:pt x="0" y="653403"/>
                </a:lnTo>
                <a:lnTo>
                  <a:pt x="1057" y="652077"/>
                </a:lnTo>
                <a:lnTo>
                  <a:pt x="447" y="647712"/>
                </a:lnTo>
                <a:lnTo>
                  <a:pt x="4531" y="647712"/>
                </a:lnTo>
                <a:lnTo>
                  <a:pt x="520200" y="0"/>
                </a:lnTo>
                <a:lnTo>
                  <a:pt x="659109" y="174478"/>
                </a:lnTo>
                <a:close/>
                <a:moveTo>
                  <a:pt x="101622" y="1372451"/>
                </a:moveTo>
                <a:lnTo>
                  <a:pt x="61820" y="1087335"/>
                </a:lnTo>
                <a:lnTo>
                  <a:pt x="728036" y="261055"/>
                </a:lnTo>
                <a:lnTo>
                  <a:pt x="870500" y="439998"/>
                </a:lnTo>
                <a:lnTo>
                  <a:pt x="860164" y="431664"/>
                </a:lnTo>
                <a:close/>
                <a:moveTo>
                  <a:pt x="161365" y="1800403"/>
                </a:moveTo>
                <a:lnTo>
                  <a:pt x="122098" y="1519120"/>
                </a:lnTo>
                <a:lnTo>
                  <a:pt x="930953" y="515931"/>
                </a:lnTo>
                <a:lnTo>
                  <a:pt x="1035869" y="647712"/>
                </a:lnTo>
                <a:lnTo>
                  <a:pt x="1039954" y="647712"/>
                </a:lnTo>
                <a:lnTo>
                  <a:pt x="1039345" y="652078"/>
                </a:lnTo>
                <a:lnTo>
                  <a:pt x="1040400" y="653403"/>
                </a:lnTo>
                <a:lnTo>
                  <a:pt x="1039160" y="653403"/>
                </a:lnTo>
                <a:lnTo>
                  <a:pt x="1029316" y="723920"/>
                </a:lnTo>
                <a:close/>
                <a:moveTo>
                  <a:pt x="217894" y="2205330"/>
                </a:moveTo>
                <a:lnTo>
                  <a:pt x="181840" y="1947070"/>
                </a:lnTo>
                <a:lnTo>
                  <a:pt x="1000266" y="932012"/>
                </a:lnTo>
                <a:lnTo>
                  <a:pt x="949113" y="1298429"/>
                </a:lnTo>
                <a:close/>
                <a:moveTo>
                  <a:pt x="330192" y="2564220"/>
                </a:moveTo>
                <a:lnTo>
                  <a:pt x="267995" y="2564220"/>
                </a:lnTo>
                <a:lnTo>
                  <a:pt x="237100" y="2342912"/>
                </a:lnTo>
                <a:lnTo>
                  <a:pt x="242309" y="2347112"/>
                </a:lnTo>
                <a:lnTo>
                  <a:pt x="920063" y="1506522"/>
                </a:lnTo>
                <a:lnTo>
                  <a:pt x="865005" y="1900914"/>
                </a:lnTo>
                <a:close/>
                <a:moveTo>
                  <a:pt x="772406" y="2564220"/>
                </a:moveTo>
                <a:lnTo>
                  <a:pt x="468924" y="2564220"/>
                </a:lnTo>
                <a:lnTo>
                  <a:pt x="835955" y="2109008"/>
                </a:lnTo>
                <a:close/>
                <a:moveTo>
                  <a:pt x="892044" y="3240000"/>
                </a:moveTo>
                <a:lnTo>
                  <a:pt x="148356" y="3240000"/>
                </a:lnTo>
                <a:lnTo>
                  <a:pt x="276144" y="2663936"/>
                </a:lnTo>
                <a:lnTo>
                  <a:pt x="764256" y="266393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291" name="Oval 21">
            <a:extLst>
              <a:ext uri="{FF2B5EF4-FFF2-40B4-BE49-F238E27FC236}">
                <a16:creationId xmlns:a16="http://schemas.microsoft.com/office/drawing/2014/main" id="{9B36FBB2-C3BA-4D5A-92B4-0CAD1DDA7E12}"/>
              </a:ext>
            </a:extLst>
          </p:cNvPr>
          <p:cNvSpPr>
            <a:spLocks/>
          </p:cNvSpPr>
          <p:nvPr/>
        </p:nvSpPr>
        <p:spPr>
          <a:xfrm>
            <a:off x="2300338" y="4597161"/>
            <a:ext cx="457200" cy="457200"/>
          </a:xfrm>
          <a:custGeom>
            <a:avLst/>
            <a:gdLst/>
            <a:ahLst/>
            <a:cxnLst/>
            <a:rect l="l" t="t" r="r" b="b"/>
            <a:pathLst>
              <a:path w="1652142" h="1665940">
                <a:moveTo>
                  <a:pt x="898689" y="548008"/>
                </a:moveTo>
                <a:cubicBezTo>
                  <a:pt x="737950" y="504938"/>
                  <a:pt x="572731" y="600328"/>
                  <a:pt x="529661" y="761066"/>
                </a:cubicBezTo>
                <a:cubicBezTo>
                  <a:pt x="486591" y="921805"/>
                  <a:pt x="581980" y="1087025"/>
                  <a:pt x="742719" y="1130094"/>
                </a:cubicBezTo>
                <a:cubicBezTo>
                  <a:pt x="903458" y="1173164"/>
                  <a:pt x="1068677" y="1077775"/>
                  <a:pt x="1111747" y="917036"/>
                </a:cubicBezTo>
                <a:cubicBezTo>
                  <a:pt x="1154817" y="756297"/>
                  <a:pt x="1059428" y="591077"/>
                  <a:pt x="898689" y="548008"/>
                </a:cubicBezTo>
                <a:close/>
                <a:moveTo>
                  <a:pt x="952303" y="347916"/>
                </a:moveTo>
                <a:cubicBezTo>
                  <a:pt x="1223549" y="420596"/>
                  <a:pt x="1384519" y="699404"/>
                  <a:pt x="1311839" y="970650"/>
                </a:cubicBezTo>
                <a:cubicBezTo>
                  <a:pt x="1239159" y="1241896"/>
                  <a:pt x="960351" y="1402866"/>
                  <a:pt x="689105" y="1330186"/>
                </a:cubicBezTo>
                <a:cubicBezTo>
                  <a:pt x="417859" y="1257506"/>
                  <a:pt x="256889" y="978698"/>
                  <a:pt x="329569" y="707451"/>
                </a:cubicBezTo>
                <a:cubicBezTo>
                  <a:pt x="402249" y="436205"/>
                  <a:pt x="681057" y="275235"/>
                  <a:pt x="952303" y="347916"/>
                </a:cubicBezTo>
                <a:close/>
                <a:moveTo>
                  <a:pt x="971799" y="275155"/>
                </a:moveTo>
                <a:cubicBezTo>
                  <a:pt x="660368" y="191707"/>
                  <a:pt x="340256" y="376524"/>
                  <a:pt x="256808" y="687955"/>
                </a:cubicBezTo>
                <a:cubicBezTo>
                  <a:pt x="173361" y="999387"/>
                  <a:pt x="358178" y="1319499"/>
                  <a:pt x="669609" y="1402947"/>
                </a:cubicBezTo>
                <a:cubicBezTo>
                  <a:pt x="981040" y="1486395"/>
                  <a:pt x="1301152" y="1301577"/>
                  <a:pt x="1384600" y="990146"/>
                </a:cubicBezTo>
                <a:cubicBezTo>
                  <a:pt x="1468047" y="678715"/>
                  <a:pt x="1283230" y="358603"/>
                  <a:pt x="971799" y="275155"/>
                </a:cubicBezTo>
                <a:close/>
                <a:moveTo>
                  <a:pt x="1652142" y="394531"/>
                </a:moveTo>
                <a:lnTo>
                  <a:pt x="1649662" y="403784"/>
                </a:lnTo>
                <a:lnTo>
                  <a:pt x="1647140" y="399895"/>
                </a:lnTo>
                <a:close/>
                <a:moveTo>
                  <a:pt x="1158157" y="65026"/>
                </a:moveTo>
                <a:lnTo>
                  <a:pt x="1154679" y="271718"/>
                </a:lnTo>
                <a:lnTo>
                  <a:pt x="1148331" y="270017"/>
                </a:lnTo>
                <a:cubicBezTo>
                  <a:pt x="1200055" y="299127"/>
                  <a:pt x="1246804" y="334821"/>
                  <a:pt x="1286346" y="377149"/>
                </a:cubicBezTo>
                <a:lnTo>
                  <a:pt x="1470353" y="331395"/>
                </a:lnTo>
                <a:lnTo>
                  <a:pt x="1588305" y="553229"/>
                </a:lnTo>
                <a:lnTo>
                  <a:pt x="1457194" y="671432"/>
                </a:lnTo>
                <a:cubicBezTo>
                  <a:pt x="1473630" y="731297"/>
                  <a:pt x="1481376" y="793983"/>
                  <a:pt x="1478595" y="857704"/>
                </a:cubicBezTo>
                <a:lnTo>
                  <a:pt x="1642362" y="948616"/>
                </a:lnTo>
                <a:lnTo>
                  <a:pt x="1577335" y="1191298"/>
                </a:lnTo>
                <a:lnTo>
                  <a:pt x="1378614" y="1187955"/>
                </a:lnTo>
                <a:cubicBezTo>
                  <a:pt x="1353489" y="1229936"/>
                  <a:pt x="1323048" y="1267799"/>
                  <a:pt x="1288939" y="1301599"/>
                </a:cubicBezTo>
                <a:lnTo>
                  <a:pt x="1354201" y="1471932"/>
                </a:lnTo>
                <a:lnTo>
                  <a:pt x="1148396" y="1616039"/>
                </a:lnTo>
                <a:lnTo>
                  <a:pt x="992294" y="1480516"/>
                </a:lnTo>
                <a:lnTo>
                  <a:pt x="1011291" y="1467215"/>
                </a:lnTo>
                <a:cubicBezTo>
                  <a:pt x="951500" y="1486565"/>
                  <a:pt x="888271" y="1495869"/>
                  <a:pt x="823805" y="1495510"/>
                </a:cubicBezTo>
                <a:lnTo>
                  <a:pt x="729193" y="1665940"/>
                </a:lnTo>
                <a:lnTo>
                  <a:pt x="486511" y="1600914"/>
                </a:lnTo>
                <a:lnTo>
                  <a:pt x="489790" y="1406012"/>
                </a:lnTo>
                <a:cubicBezTo>
                  <a:pt x="438364" y="1376702"/>
                  <a:pt x="391917" y="1340859"/>
                  <a:pt x="352658" y="1298452"/>
                </a:cubicBezTo>
                <a:lnTo>
                  <a:pt x="355803" y="1305197"/>
                </a:lnTo>
                <a:lnTo>
                  <a:pt x="152856" y="1344512"/>
                </a:lnTo>
                <a:lnTo>
                  <a:pt x="46675" y="1116809"/>
                </a:lnTo>
                <a:lnTo>
                  <a:pt x="183929" y="1005520"/>
                </a:lnTo>
                <a:cubicBezTo>
                  <a:pt x="169279" y="951824"/>
                  <a:pt x="161626" y="895865"/>
                  <a:pt x="161615" y="838915"/>
                </a:cubicBezTo>
                <a:lnTo>
                  <a:pt x="0" y="749197"/>
                </a:lnTo>
                <a:lnTo>
                  <a:pt x="65026" y="506515"/>
                </a:lnTo>
                <a:lnTo>
                  <a:pt x="250227" y="509630"/>
                </a:lnTo>
                <a:cubicBezTo>
                  <a:pt x="275353" y="465291"/>
                  <a:pt x="305693" y="424864"/>
                  <a:pt x="340015" y="388679"/>
                </a:cubicBezTo>
                <a:lnTo>
                  <a:pt x="277984" y="197357"/>
                </a:lnTo>
                <a:lnTo>
                  <a:pt x="491050" y="64219"/>
                </a:lnTo>
                <a:lnTo>
                  <a:pt x="639843" y="207726"/>
                </a:lnTo>
                <a:lnTo>
                  <a:pt x="638348" y="208660"/>
                </a:lnTo>
                <a:cubicBezTo>
                  <a:pt x="696840" y="190256"/>
                  <a:pt x="758594" y="181748"/>
                  <a:pt x="821488" y="182440"/>
                </a:cubicBezTo>
                <a:lnTo>
                  <a:pt x="815140" y="180739"/>
                </a:lnTo>
                <a:lnTo>
                  <a:pt x="915476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2DC01F6B-CA3F-49D2-B384-7E3EDF90121C}"/>
              </a:ext>
            </a:extLst>
          </p:cNvPr>
          <p:cNvSpPr txBox="1"/>
          <p:nvPr/>
        </p:nvSpPr>
        <p:spPr>
          <a:xfrm>
            <a:off x="583624" y="1862184"/>
            <a:ext cx="731405" cy="3231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ents</a:t>
            </a:r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B170CB0A-1283-472A-88F4-02CC5EA4A675}"/>
              </a:ext>
            </a:extLst>
          </p:cNvPr>
          <p:cNvSpPr txBox="1"/>
          <p:nvPr/>
        </p:nvSpPr>
        <p:spPr>
          <a:xfrm>
            <a:off x="3142492" y="2728490"/>
            <a:ext cx="1082447" cy="3231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les team</a:t>
            </a:r>
          </a:p>
        </p:txBody>
      </p:sp>
      <p:sp>
        <p:nvSpPr>
          <p:cNvPr id="278" name="TextBox 277">
            <a:extLst>
              <a:ext uri="{FF2B5EF4-FFF2-40B4-BE49-F238E27FC236}">
                <a16:creationId xmlns:a16="http://schemas.microsoft.com/office/drawing/2014/main" id="{EBBE7097-BDCE-43FF-B4C7-5F7E9FDB43D7}"/>
              </a:ext>
            </a:extLst>
          </p:cNvPr>
          <p:cNvSpPr txBox="1"/>
          <p:nvPr/>
        </p:nvSpPr>
        <p:spPr>
          <a:xfrm>
            <a:off x="3017165" y="4466158"/>
            <a:ext cx="1434440" cy="3231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0CF9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chnical team</a:t>
            </a:r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2A3E7A77-D41A-4ABB-89D7-69B7BA52481A}"/>
              </a:ext>
            </a:extLst>
          </p:cNvPr>
          <p:cNvSpPr txBox="1"/>
          <p:nvPr/>
        </p:nvSpPr>
        <p:spPr>
          <a:xfrm>
            <a:off x="473065" y="3473735"/>
            <a:ext cx="952523" cy="3231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BD0D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C team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D3487DF-9163-49A5-96B0-7EA1E507346D}"/>
              </a:ext>
            </a:extLst>
          </p:cNvPr>
          <p:cNvSpPr/>
          <p:nvPr/>
        </p:nvSpPr>
        <p:spPr>
          <a:xfrm>
            <a:off x="994799" y="175927"/>
            <a:ext cx="209358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ko-KR" sz="44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 Light" panose="020F0302020204030204"/>
                <a:ea typeface="맑은 고딕" panose="020B0503020000020004" pitchFamily="34" charset="-127"/>
                <a:cs typeface="+mn-cs"/>
              </a:rPr>
              <a:t>STC</a:t>
            </a:r>
            <a:endParaRPr kumimoji="0" lang="en-IN" sz="4400" b="0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0AC1134-CC0C-4244-987C-ABB778BB75C2}"/>
              </a:ext>
            </a:extLst>
          </p:cNvPr>
          <p:cNvSpPr/>
          <p:nvPr/>
        </p:nvSpPr>
        <p:spPr>
          <a:xfrm>
            <a:off x="7530412" y="6202792"/>
            <a:ext cx="23188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+mn-cs"/>
              </a:rPr>
              <a:t>STC process document</a:t>
            </a:r>
            <a:endParaRPr kumimoji="0" lang="ko-KR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79B50978-3399-451D-B8AA-6CB293EAB178}"/>
              </a:ext>
            </a:extLst>
          </p:cNvPr>
          <p:cNvSpPr/>
          <p:nvPr/>
        </p:nvSpPr>
        <p:spPr>
          <a:xfrm>
            <a:off x="1964180" y="6173764"/>
            <a:ext cx="12457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+mn-cs"/>
              </a:rPr>
              <a:t>Role of STC</a:t>
            </a:r>
            <a:endParaRPr kumimoji="0" lang="ko-KR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01320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740666" y="66102"/>
            <a:ext cx="9155016" cy="6363374"/>
          </a:xfrm>
          <a:prstGeom prst="rect">
            <a:avLst/>
          </a:prstGeom>
          <a:solidFill>
            <a:srgbClr val="6DB3B3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7750" y="424525"/>
            <a:ext cx="7520848" cy="5646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4726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1">
            <a:extLst>
              <a:ext uri="{FF2B5EF4-FFF2-40B4-BE49-F238E27FC236}">
                <a16:creationId xmlns:a16="http://schemas.microsoft.com/office/drawing/2014/main" id="{B6357213-3534-4D5F-95B4-371C37CAC2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508376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E559701-67B4-45CB-A69A-BB16D9C50AB3}"/>
              </a:ext>
            </a:extLst>
          </p:cNvPr>
          <p:cNvGrpSpPr/>
          <p:nvPr/>
        </p:nvGrpSpPr>
        <p:grpSpPr>
          <a:xfrm rot="19956450">
            <a:off x="4534160" y="1200362"/>
            <a:ext cx="1554480" cy="1828800"/>
            <a:chOff x="5331399" y="128239"/>
            <a:chExt cx="1554480" cy="1828800"/>
          </a:xfrm>
        </p:grpSpPr>
        <p:sp>
          <p:nvSpPr>
            <p:cNvPr id="27" name="Hexagon 26">
              <a:extLst>
                <a:ext uri="{FF2B5EF4-FFF2-40B4-BE49-F238E27FC236}">
                  <a16:creationId xmlns:a16="http://schemas.microsoft.com/office/drawing/2014/main" id="{7FB84737-C316-4D40-A7FF-D98609A42A76}"/>
                </a:ext>
              </a:extLst>
            </p:cNvPr>
            <p:cNvSpPr/>
            <p:nvPr/>
          </p:nvSpPr>
          <p:spPr>
            <a:xfrm rot="5400000">
              <a:off x="5194239" y="265399"/>
              <a:ext cx="1828800" cy="1554480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Hexagon 27">
              <a:extLst>
                <a:ext uri="{FF2B5EF4-FFF2-40B4-BE49-F238E27FC236}">
                  <a16:creationId xmlns:a16="http://schemas.microsoft.com/office/drawing/2014/main" id="{96E151D2-DEB2-45E9-A4E9-AA1F482413A3}"/>
                </a:ext>
              </a:extLst>
            </p:cNvPr>
            <p:cNvSpPr/>
            <p:nvPr/>
          </p:nvSpPr>
          <p:spPr>
            <a:xfrm rot="5400000">
              <a:off x="5422839" y="448279"/>
              <a:ext cx="1371600" cy="1188720"/>
            </a:xfrm>
            <a:prstGeom prst="hexagon">
              <a:avLst/>
            </a:prstGeom>
            <a:solidFill>
              <a:srgbClr val="88A6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6EFD0EF-1324-41BA-BE86-16DBDEE01956}"/>
              </a:ext>
            </a:extLst>
          </p:cNvPr>
          <p:cNvGrpSpPr/>
          <p:nvPr/>
        </p:nvGrpSpPr>
        <p:grpSpPr>
          <a:xfrm rot="19956450">
            <a:off x="5962054" y="2130855"/>
            <a:ext cx="1554480" cy="1828800"/>
            <a:chOff x="6108639" y="1600200"/>
            <a:chExt cx="1554480" cy="1828800"/>
          </a:xfrm>
        </p:grpSpPr>
        <p:sp>
          <p:nvSpPr>
            <p:cNvPr id="25" name="Hexagon 24">
              <a:extLst>
                <a:ext uri="{FF2B5EF4-FFF2-40B4-BE49-F238E27FC236}">
                  <a16:creationId xmlns:a16="http://schemas.microsoft.com/office/drawing/2014/main" id="{748EBDC5-1BA6-44A4-B073-63C220C51704}"/>
                </a:ext>
              </a:extLst>
            </p:cNvPr>
            <p:cNvSpPr/>
            <p:nvPr/>
          </p:nvSpPr>
          <p:spPr>
            <a:xfrm rot="5400000">
              <a:off x="5971479" y="1737360"/>
              <a:ext cx="1828800" cy="1554480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Hexagon 25">
              <a:extLst>
                <a:ext uri="{FF2B5EF4-FFF2-40B4-BE49-F238E27FC236}">
                  <a16:creationId xmlns:a16="http://schemas.microsoft.com/office/drawing/2014/main" id="{EB9BE726-2489-43A3-8FFE-1F60C24A41CD}"/>
                </a:ext>
              </a:extLst>
            </p:cNvPr>
            <p:cNvSpPr/>
            <p:nvPr/>
          </p:nvSpPr>
          <p:spPr>
            <a:xfrm rot="5400000">
              <a:off x="6200079" y="1920240"/>
              <a:ext cx="1371600" cy="1188720"/>
            </a:xfrm>
            <a:prstGeom prst="hexagon">
              <a:avLst/>
            </a:prstGeom>
            <a:solidFill>
              <a:srgbClr val="88A6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052DEEC-FEB4-4B16-AD31-3371559E61C8}"/>
              </a:ext>
            </a:extLst>
          </p:cNvPr>
          <p:cNvGrpSpPr/>
          <p:nvPr/>
        </p:nvGrpSpPr>
        <p:grpSpPr>
          <a:xfrm rot="19956450">
            <a:off x="7389949" y="3061348"/>
            <a:ext cx="1554480" cy="1828800"/>
            <a:chOff x="5331399" y="3072161"/>
            <a:chExt cx="1554480" cy="1828800"/>
          </a:xfrm>
        </p:grpSpPr>
        <p:sp>
          <p:nvSpPr>
            <p:cNvPr id="23" name="Hexagon 22">
              <a:extLst>
                <a:ext uri="{FF2B5EF4-FFF2-40B4-BE49-F238E27FC236}">
                  <a16:creationId xmlns:a16="http://schemas.microsoft.com/office/drawing/2014/main" id="{083FF442-25B6-44B5-8AF5-8CC957676922}"/>
                </a:ext>
              </a:extLst>
            </p:cNvPr>
            <p:cNvSpPr/>
            <p:nvPr/>
          </p:nvSpPr>
          <p:spPr>
            <a:xfrm rot="5400000">
              <a:off x="5194239" y="3209321"/>
              <a:ext cx="1828800" cy="1554480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Hexagon 23">
              <a:extLst>
                <a:ext uri="{FF2B5EF4-FFF2-40B4-BE49-F238E27FC236}">
                  <a16:creationId xmlns:a16="http://schemas.microsoft.com/office/drawing/2014/main" id="{0BEEA252-B203-4D98-A41A-D2AB736D5704}"/>
                </a:ext>
              </a:extLst>
            </p:cNvPr>
            <p:cNvSpPr/>
            <p:nvPr/>
          </p:nvSpPr>
          <p:spPr>
            <a:xfrm rot="5400000">
              <a:off x="5422839" y="3392201"/>
              <a:ext cx="1371600" cy="1188720"/>
            </a:xfrm>
            <a:prstGeom prst="hexagon">
              <a:avLst/>
            </a:prstGeom>
            <a:solidFill>
              <a:srgbClr val="88A6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59F44A0-26F3-4CFA-9210-FA5A11241C0F}"/>
              </a:ext>
            </a:extLst>
          </p:cNvPr>
          <p:cNvGrpSpPr/>
          <p:nvPr/>
        </p:nvGrpSpPr>
        <p:grpSpPr>
          <a:xfrm rot="19956450">
            <a:off x="8817843" y="3991841"/>
            <a:ext cx="1554480" cy="1828800"/>
            <a:chOff x="6132057" y="4516244"/>
            <a:chExt cx="1554480" cy="1828800"/>
          </a:xfrm>
        </p:grpSpPr>
        <p:sp>
          <p:nvSpPr>
            <p:cNvPr id="21" name="Hexagon 20">
              <a:extLst>
                <a:ext uri="{FF2B5EF4-FFF2-40B4-BE49-F238E27FC236}">
                  <a16:creationId xmlns:a16="http://schemas.microsoft.com/office/drawing/2014/main" id="{E6B44E0F-21F0-4CCA-96B8-D34A248261AE}"/>
                </a:ext>
              </a:extLst>
            </p:cNvPr>
            <p:cNvSpPr/>
            <p:nvPr/>
          </p:nvSpPr>
          <p:spPr>
            <a:xfrm rot="5400000">
              <a:off x="5994897" y="4653404"/>
              <a:ext cx="1828800" cy="1554480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Hexagon 21">
              <a:extLst>
                <a:ext uri="{FF2B5EF4-FFF2-40B4-BE49-F238E27FC236}">
                  <a16:creationId xmlns:a16="http://schemas.microsoft.com/office/drawing/2014/main" id="{4B7AFD9A-0870-41E8-9383-12DFB99CCB26}"/>
                </a:ext>
              </a:extLst>
            </p:cNvPr>
            <p:cNvSpPr/>
            <p:nvPr/>
          </p:nvSpPr>
          <p:spPr>
            <a:xfrm rot="5400000">
              <a:off x="6223497" y="4836284"/>
              <a:ext cx="1371600" cy="1188720"/>
            </a:xfrm>
            <a:prstGeom prst="hexagon">
              <a:avLst/>
            </a:prstGeom>
            <a:solidFill>
              <a:srgbClr val="88A6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DFE96CD-DE89-4AB6-A34E-F045F1FCAFE4}"/>
              </a:ext>
            </a:extLst>
          </p:cNvPr>
          <p:cNvGrpSpPr/>
          <p:nvPr/>
        </p:nvGrpSpPr>
        <p:grpSpPr>
          <a:xfrm rot="19956450">
            <a:off x="5969791" y="456440"/>
            <a:ext cx="1554480" cy="1828800"/>
            <a:chOff x="6948327" y="128239"/>
            <a:chExt cx="1554480" cy="1828800"/>
          </a:xfrm>
        </p:grpSpPr>
        <p:sp>
          <p:nvSpPr>
            <p:cNvPr id="19" name="Hexagon 18">
              <a:extLst>
                <a:ext uri="{FF2B5EF4-FFF2-40B4-BE49-F238E27FC236}">
                  <a16:creationId xmlns:a16="http://schemas.microsoft.com/office/drawing/2014/main" id="{F1F4FBBB-C6EF-4B72-AD64-15DCD08A029D}"/>
                </a:ext>
              </a:extLst>
            </p:cNvPr>
            <p:cNvSpPr/>
            <p:nvPr/>
          </p:nvSpPr>
          <p:spPr>
            <a:xfrm rot="5400000">
              <a:off x="6811167" y="265399"/>
              <a:ext cx="1828800" cy="1554480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Hexagon 19">
              <a:extLst>
                <a:ext uri="{FF2B5EF4-FFF2-40B4-BE49-F238E27FC236}">
                  <a16:creationId xmlns:a16="http://schemas.microsoft.com/office/drawing/2014/main" id="{52B59543-CA91-46E6-8C63-10ADA11760C6}"/>
                </a:ext>
              </a:extLst>
            </p:cNvPr>
            <p:cNvSpPr/>
            <p:nvPr/>
          </p:nvSpPr>
          <p:spPr>
            <a:xfrm rot="5400000">
              <a:off x="7039767" y="448279"/>
              <a:ext cx="1371600" cy="1188720"/>
            </a:xfrm>
            <a:prstGeom prst="hexagon">
              <a:avLst/>
            </a:prstGeom>
            <a:solidFill>
              <a:srgbClr val="5EA5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FFD40E9B-5A0D-4B1C-83D6-7F8F0760BE41}"/>
              </a:ext>
            </a:extLst>
          </p:cNvPr>
          <p:cNvGrpSpPr/>
          <p:nvPr/>
        </p:nvGrpSpPr>
        <p:grpSpPr>
          <a:xfrm rot="19956450">
            <a:off x="7397685" y="1386933"/>
            <a:ext cx="1554480" cy="1828800"/>
            <a:chOff x="7725567" y="1600200"/>
            <a:chExt cx="1554480" cy="1828800"/>
          </a:xfrm>
        </p:grpSpPr>
        <p:sp>
          <p:nvSpPr>
            <p:cNvPr id="17" name="Hexagon 16">
              <a:extLst>
                <a:ext uri="{FF2B5EF4-FFF2-40B4-BE49-F238E27FC236}">
                  <a16:creationId xmlns:a16="http://schemas.microsoft.com/office/drawing/2014/main" id="{410E86B1-B421-4D82-A0CD-98E3760C9A4F}"/>
                </a:ext>
              </a:extLst>
            </p:cNvPr>
            <p:cNvSpPr/>
            <p:nvPr/>
          </p:nvSpPr>
          <p:spPr>
            <a:xfrm rot="5400000">
              <a:off x="7588407" y="1737360"/>
              <a:ext cx="1828800" cy="1554480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Hexagon 17">
              <a:extLst>
                <a:ext uri="{FF2B5EF4-FFF2-40B4-BE49-F238E27FC236}">
                  <a16:creationId xmlns:a16="http://schemas.microsoft.com/office/drawing/2014/main" id="{19AC001F-48E7-44C8-9E75-BADAA32F7571}"/>
                </a:ext>
              </a:extLst>
            </p:cNvPr>
            <p:cNvSpPr/>
            <p:nvPr/>
          </p:nvSpPr>
          <p:spPr>
            <a:xfrm rot="5400000">
              <a:off x="7817007" y="1920240"/>
              <a:ext cx="1371600" cy="1188720"/>
            </a:xfrm>
            <a:prstGeom prst="hexagon">
              <a:avLst/>
            </a:prstGeom>
            <a:solidFill>
              <a:srgbClr val="5EA5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ED8B3CC-A0F3-4AC8-8911-968EB50B742A}"/>
              </a:ext>
            </a:extLst>
          </p:cNvPr>
          <p:cNvGrpSpPr/>
          <p:nvPr/>
        </p:nvGrpSpPr>
        <p:grpSpPr>
          <a:xfrm rot="19956450">
            <a:off x="8825580" y="2317426"/>
            <a:ext cx="1554480" cy="1828800"/>
            <a:chOff x="6948327" y="3072161"/>
            <a:chExt cx="1554480" cy="1828800"/>
          </a:xfrm>
        </p:grpSpPr>
        <p:sp>
          <p:nvSpPr>
            <p:cNvPr id="15" name="Hexagon 14">
              <a:extLst>
                <a:ext uri="{FF2B5EF4-FFF2-40B4-BE49-F238E27FC236}">
                  <a16:creationId xmlns:a16="http://schemas.microsoft.com/office/drawing/2014/main" id="{0452FBBB-684B-41EE-BADB-6326286459A6}"/>
                </a:ext>
              </a:extLst>
            </p:cNvPr>
            <p:cNvSpPr/>
            <p:nvPr/>
          </p:nvSpPr>
          <p:spPr>
            <a:xfrm rot="5400000">
              <a:off x="6811167" y="3209321"/>
              <a:ext cx="1828800" cy="1554480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Hexagon 15">
              <a:extLst>
                <a:ext uri="{FF2B5EF4-FFF2-40B4-BE49-F238E27FC236}">
                  <a16:creationId xmlns:a16="http://schemas.microsoft.com/office/drawing/2014/main" id="{23A5557B-0EE1-40D3-9ECA-53A5C1610308}"/>
                </a:ext>
              </a:extLst>
            </p:cNvPr>
            <p:cNvSpPr/>
            <p:nvPr/>
          </p:nvSpPr>
          <p:spPr>
            <a:xfrm rot="5400000">
              <a:off x="7039767" y="3392201"/>
              <a:ext cx="1371600" cy="1188720"/>
            </a:xfrm>
            <a:prstGeom prst="hexagon">
              <a:avLst/>
            </a:prstGeom>
            <a:solidFill>
              <a:srgbClr val="5EA5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77350EB-9A65-4ADF-AFB3-7180C33E3B9C}"/>
              </a:ext>
            </a:extLst>
          </p:cNvPr>
          <p:cNvGrpSpPr/>
          <p:nvPr/>
        </p:nvGrpSpPr>
        <p:grpSpPr>
          <a:xfrm rot="19956450">
            <a:off x="10253474" y="3247919"/>
            <a:ext cx="1554480" cy="1828800"/>
            <a:chOff x="7748985" y="4516244"/>
            <a:chExt cx="1554480" cy="1828800"/>
          </a:xfrm>
        </p:grpSpPr>
        <p:sp>
          <p:nvSpPr>
            <p:cNvPr id="13" name="Hexagon 12">
              <a:extLst>
                <a:ext uri="{FF2B5EF4-FFF2-40B4-BE49-F238E27FC236}">
                  <a16:creationId xmlns:a16="http://schemas.microsoft.com/office/drawing/2014/main" id="{FD4F8526-178D-4FE6-84EE-3745367C5860}"/>
                </a:ext>
              </a:extLst>
            </p:cNvPr>
            <p:cNvSpPr/>
            <p:nvPr/>
          </p:nvSpPr>
          <p:spPr>
            <a:xfrm rot="5400000">
              <a:off x="7611825" y="4653404"/>
              <a:ext cx="1828800" cy="1554480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Hexagon 13">
              <a:extLst>
                <a:ext uri="{FF2B5EF4-FFF2-40B4-BE49-F238E27FC236}">
                  <a16:creationId xmlns:a16="http://schemas.microsoft.com/office/drawing/2014/main" id="{8A25CC99-D88C-4789-819B-8D54F1137B9B}"/>
                </a:ext>
              </a:extLst>
            </p:cNvPr>
            <p:cNvSpPr/>
            <p:nvPr/>
          </p:nvSpPr>
          <p:spPr>
            <a:xfrm rot="5400000">
              <a:off x="7840425" y="4836284"/>
              <a:ext cx="1371600" cy="1188720"/>
            </a:xfrm>
            <a:prstGeom prst="hexagon">
              <a:avLst/>
            </a:prstGeom>
            <a:solidFill>
              <a:srgbClr val="5EA5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6EFD0EF-1324-41BA-BE86-16DBDEE01956}"/>
              </a:ext>
            </a:extLst>
          </p:cNvPr>
          <p:cNvGrpSpPr/>
          <p:nvPr/>
        </p:nvGrpSpPr>
        <p:grpSpPr>
          <a:xfrm rot="19956450">
            <a:off x="4537673" y="2874777"/>
            <a:ext cx="1554480" cy="1828800"/>
            <a:chOff x="6108639" y="1600200"/>
            <a:chExt cx="1554480" cy="1828800"/>
          </a:xfrm>
        </p:grpSpPr>
        <p:sp>
          <p:nvSpPr>
            <p:cNvPr id="30" name="Hexagon 29">
              <a:extLst>
                <a:ext uri="{FF2B5EF4-FFF2-40B4-BE49-F238E27FC236}">
                  <a16:creationId xmlns:a16="http://schemas.microsoft.com/office/drawing/2014/main" id="{748EBDC5-1BA6-44A4-B073-63C220C51704}"/>
                </a:ext>
              </a:extLst>
            </p:cNvPr>
            <p:cNvSpPr/>
            <p:nvPr/>
          </p:nvSpPr>
          <p:spPr>
            <a:xfrm rot="5400000">
              <a:off x="5971479" y="1737360"/>
              <a:ext cx="1828800" cy="1554480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xagon 30">
              <a:extLst>
                <a:ext uri="{FF2B5EF4-FFF2-40B4-BE49-F238E27FC236}">
                  <a16:creationId xmlns:a16="http://schemas.microsoft.com/office/drawing/2014/main" id="{EB9BE726-2489-43A3-8FFE-1F60C24A41CD}"/>
                </a:ext>
              </a:extLst>
            </p:cNvPr>
            <p:cNvSpPr/>
            <p:nvPr/>
          </p:nvSpPr>
          <p:spPr>
            <a:xfrm rot="5400000">
              <a:off x="6200079" y="1920240"/>
              <a:ext cx="1371600" cy="1188720"/>
            </a:xfrm>
            <a:prstGeom prst="hexagon">
              <a:avLst/>
            </a:prstGeom>
            <a:solidFill>
              <a:srgbClr val="5EA5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E559701-67B4-45CB-A69A-BB16D9C50AB3}"/>
              </a:ext>
            </a:extLst>
          </p:cNvPr>
          <p:cNvGrpSpPr/>
          <p:nvPr/>
        </p:nvGrpSpPr>
        <p:grpSpPr>
          <a:xfrm rot="19956450">
            <a:off x="3073965" y="1940011"/>
            <a:ext cx="1554480" cy="1828800"/>
            <a:chOff x="5331399" y="128239"/>
            <a:chExt cx="1554480" cy="1828800"/>
          </a:xfrm>
        </p:grpSpPr>
        <p:sp>
          <p:nvSpPr>
            <p:cNvPr id="33" name="Hexagon 32">
              <a:extLst>
                <a:ext uri="{FF2B5EF4-FFF2-40B4-BE49-F238E27FC236}">
                  <a16:creationId xmlns:a16="http://schemas.microsoft.com/office/drawing/2014/main" id="{7FB84737-C316-4D40-A7FF-D98609A42A76}"/>
                </a:ext>
              </a:extLst>
            </p:cNvPr>
            <p:cNvSpPr/>
            <p:nvPr/>
          </p:nvSpPr>
          <p:spPr>
            <a:xfrm rot="5400000">
              <a:off x="5194239" y="265399"/>
              <a:ext cx="1828800" cy="1554480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Hexagon 33">
              <a:extLst>
                <a:ext uri="{FF2B5EF4-FFF2-40B4-BE49-F238E27FC236}">
                  <a16:creationId xmlns:a16="http://schemas.microsoft.com/office/drawing/2014/main" id="{96E151D2-DEB2-45E9-A4E9-AA1F482413A3}"/>
                </a:ext>
              </a:extLst>
            </p:cNvPr>
            <p:cNvSpPr/>
            <p:nvPr/>
          </p:nvSpPr>
          <p:spPr>
            <a:xfrm rot="5400000">
              <a:off x="5422839" y="448279"/>
              <a:ext cx="1371600" cy="1188720"/>
            </a:xfrm>
            <a:prstGeom prst="hexagon">
              <a:avLst/>
            </a:prstGeom>
            <a:solidFill>
              <a:srgbClr val="5EA5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6EFD0EF-1324-41BA-BE86-16DBDEE01956}"/>
              </a:ext>
            </a:extLst>
          </p:cNvPr>
          <p:cNvGrpSpPr/>
          <p:nvPr/>
        </p:nvGrpSpPr>
        <p:grpSpPr>
          <a:xfrm rot="19956450">
            <a:off x="5951606" y="3838245"/>
            <a:ext cx="1554480" cy="1828800"/>
            <a:chOff x="6108639" y="1600200"/>
            <a:chExt cx="1554480" cy="1828800"/>
          </a:xfrm>
        </p:grpSpPr>
        <p:sp>
          <p:nvSpPr>
            <p:cNvPr id="36" name="Hexagon 35">
              <a:extLst>
                <a:ext uri="{FF2B5EF4-FFF2-40B4-BE49-F238E27FC236}">
                  <a16:creationId xmlns:a16="http://schemas.microsoft.com/office/drawing/2014/main" id="{748EBDC5-1BA6-44A4-B073-63C220C51704}"/>
                </a:ext>
              </a:extLst>
            </p:cNvPr>
            <p:cNvSpPr/>
            <p:nvPr/>
          </p:nvSpPr>
          <p:spPr>
            <a:xfrm rot="5400000">
              <a:off x="5971479" y="1737360"/>
              <a:ext cx="1828800" cy="1554480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Hexagon 36">
              <a:extLst>
                <a:ext uri="{FF2B5EF4-FFF2-40B4-BE49-F238E27FC236}">
                  <a16:creationId xmlns:a16="http://schemas.microsoft.com/office/drawing/2014/main" id="{EB9BE726-2489-43A3-8FFE-1F60C24A41CD}"/>
                </a:ext>
              </a:extLst>
            </p:cNvPr>
            <p:cNvSpPr/>
            <p:nvPr/>
          </p:nvSpPr>
          <p:spPr>
            <a:xfrm rot="5400000">
              <a:off x="6200079" y="1920240"/>
              <a:ext cx="1371600" cy="1188720"/>
            </a:xfrm>
            <a:prstGeom prst="hexagon">
              <a:avLst/>
            </a:prstGeom>
            <a:solidFill>
              <a:srgbClr val="88A6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59F44A0-26F3-4CFA-9210-FA5A11241C0F}"/>
              </a:ext>
            </a:extLst>
          </p:cNvPr>
          <p:cNvGrpSpPr/>
          <p:nvPr/>
        </p:nvGrpSpPr>
        <p:grpSpPr>
          <a:xfrm rot="19956450">
            <a:off x="8850143" y="613100"/>
            <a:ext cx="1554480" cy="1828800"/>
            <a:chOff x="6132057" y="4516244"/>
            <a:chExt cx="1554480" cy="1828800"/>
          </a:xfrm>
        </p:grpSpPr>
        <p:sp>
          <p:nvSpPr>
            <p:cNvPr id="39" name="Hexagon 38">
              <a:extLst>
                <a:ext uri="{FF2B5EF4-FFF2-40B4-BE49-F238E27FC236}">
                  <a16:creationId xmlns:a16="http://schemas.microsoft.com/office/drawing/2014/main" id="{E6B44E0F-21F0-4CCA-96B8-D34A248261AE}"/>
                </a:ext>
              </a:extLst>
            </p:cNvPr>
            <p:cNvSpPr/>
            <p:nvPr/>
          </p:nvSpPr>
          <p:spPr>
            <a:xfrm rot="5400000">
              <a:off x="5994897" y="4653404"/>
              <a:ext cx="1828800" cy="1554480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Hexagon 39">
              <a:extLst>
                <a:ext uri="{FF2B5EF4-FFF2-40B4-BE49-F238E27FC236}">
                  <a16:creationId xmlns:a16="http://schemas.microsoft.com/office/drawing/2014/main" id="{4B7AFD9A-0870-41E8-9383-12DFB99CCB26}"/>
                </a:ext>
              </a:extLst>
            </p:cNvPr>
            <p:cNvSpPr/>
            <p:nvPr/>
          </p:nvSpPr>
          <p:spPr>
            <a:xfrm rot="5400000">
              <a:off x="6223497" y="4836284"/>
              <a:ext cx="1371600" cy="1188720"/>
            </a:xfrm>
            <a:prstGeom prst="hexagon">
              <a:avLst/>
            </a:prstGeom>
            <a:solidFill>
              <a:srgbClr val="88A6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59F44A0-26F3-4CFA-9210-FA5A11241C0F}"/>
              </a:ext>
            </a:extLst>
          </p:cNvPr>
          <p:cNvGrpSpPr/>
          <p:nvPr/>
        </p:nvGrpSpPr>
        <p:grpSpPr>
          <a:xfrm rot="19956450">
            <a:off x="4512785" y="4592041"/>
            <a:ext cx="1554480" cy="1828800"/>
            <a:chOff x="6132057" y="4516244"/>
            <a:chExt cx="1554480" cy="1828800"/>
          </a:xfrm>
        </p:grpSpPr>
        <p:sp>
          <p:nvSpPr>
            <p:cNvPr id="42" name="Hexagon 41">
              <a:extLst>
                <a:ext uri="{FF2B5EF4-FFF2-40B4-BE49-F238E27FC236}">
                  <a16:creationId xmlns:a16="http://schemas.microsoft.com/office/drawing/2014/main" id="{E6B44E0F-21F0-4CCA-96B8-D34A248261AE}"/>
                </a:ext>
              </a:extLst>
            </p:cNvPr>
            <p:cNvSpPr/>
            <p:nvPr/>
          </p:nvSpPr>
          <p:spPr>
            <a:xfrm rot="5400000">
              <a:off x="5994897" y="4653404"/>
              <a:ext cx="1828800" cy="1554480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Hexagon 42">
              <a:extLst>
                <a:ext uri="{FF2B5EF4-FFF2-40B4-BE49-F238E27FC236}">
                  <a16:creationId xmlns:a16="http://schemas.microsoft.com/office/drawing/2014/main" id="{4B7AFD9A-0870-41E8-9383-12DFB99CCB26}"/>
                </a:ext>
              </a:extLst>
            </p:cNvPr>
            <p:cNvSpPr/>
            <p:nvPr/>
          </p:nvSpPr>
          <p:spPr>
            <a:xfrm rot="5400000">
              <a:off x="6223497" y="4836284"/>
              <a:ext cx="1371600" cy="1188720"/>
            </a:xfrm>
            <a:prstGeom prst="hexagon">
              <a:avLst/>
            </a:prstGeom>
            <a:solidFill>
              <a:srgbClr val="5EA5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59F44A0-26F3-4CFA-9210-FA5A11241C0F}"/>
              </a:ext>
            </a:extLst>
          </p:cNvPr>
          <p:cNvGrpSpPr/>
          <p:nvPr/>
        </p:nvGrpSpPr>
        <p:grpSpPr>
          <a:xfrm rot="19956450">
            <a:off x="3049078" y="3664782"/>
            <a:ext cx="1554480" cy="1828800"/>
            <a:chOff x="6132057" y="4516244"/>
            <a:chExt cx="1554480" cy="1828800"/>
          </a:xfrm>
        </p:grpSpPr>
        <p:sp>
          <p:nvSpPr>
            <p:cNvPr id="45" name="Hexagon 44">
              <a:extLst>
                <a:ext uri="{FF2B5EF4-FFF2-40B4-BE49-F238E27FC236}">
                  <a16:creationId xmlns:a16="http://schemas.microsoft.com/office/drawing/2014/main" id="{E6B44E0F-21F0-4CCA-96B8-D34A248261AE}"/>
                </a:ext>
              </a:extLst>
            </p:cNvPr>
            <p:cNvSpPr/>
            <p:nvPr/>
          </p:nvSpPr>
          <p:spPr>
            <a:xfrm rot="5400000">
              <a:off x="5994897" y="4653404"/>
              <a:ext cx="1828800" cy="1554480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Hexagon 45">
              <a:extLst>
                <a:ext uri="{FF2B5EF4-FFF2-40B4-BE49-F238E27FC236}">
                  <a16:creationId xmlns:a16="http://schemas.microsoft.com/office/drawing/2014/main" id="{4B7AFD9A-0870-41E8-9383-12DFB99CCB26}"/>
                </a:ext>
              </a:extLst>
            </p:cNvPr>
            <p:cNvSpPr/>
            <p:nvPr/>
          </p:nvSpPr>
          <p:spPr>
            <a:xfrm rot="5400000">
              <a:off x="6223497" y="4836284"/>
              <a:ext cx="1371600" cy="1188720"/>
            </a:xfrm>
            <a:prstGeom prst="hexagon">
              <a:avLst/>
            </a:prstGeom>
            <a:solidFill>
              <a:srgbClr val="88A6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7ED8B3CC-A0F3-4AC8-8911-968EB50B742A}"/>
              </a:ext>
            </a:extLst>
          </p:cNvPr>
          <p:cNvGrpSpPr/>
          <p:nvPr/>
        </p:nvGrpSpPr>
        <p:grpSpPr>
          <a:xfrm rot="19956450">
            <a:off x="10278720" y="1554503"/>
            <a:ext cx="1554480" cy="1828800"/>
            <a:chOff x="6948327" y="3072161"/>
            <a:chExt cx="1554480" cy="1828800"/>
          </a:xfrm>
        </p:grpSpPr>
        <p:sp>
          <p:nvSpPr>
            <p:cNvPr id="51" name="Hexagon 50">
              <a:extLst>
                <a:ext uri="{FF2B5EF4-FFF2-40B4-BE49-F238E27FC236}">
                  <a16:creationId xmlns:a16="http://schemas.microsoft.com/office/drawing/2014/main" id="{0452FBBB-684B-41EE-BADB-6326286459A6}"/>
                </a:ext>
              </a:extLst>
            </p:cNvPr>
            <p:cNvSpPr/>
            <p:nvPr/>
          </p:nvSpPr>
          <p:spPr>
            <a:xfrm rot="5400000">
              <a:off x="6811167" y="3209321"/>
              <a:ext cx="1828800" cy="1554480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Hexagon 51">
              <a:extLst>
                <a:ext uri="{FF2B5EF4-FFF2-40B4-BE49-F238E27FC236}">
                  <a16:creationId xmlns:a16="http://schemas.microsoft.com/office/drawing/2014/main" id="{23A5557B-0EE1-40D3-9ECA-53A5C1610308}"/>
                </a:ext>
              </a:extLst>
            </p:cNvPr>
            <p:cNvSpPr/>
            <p:nvPr/>
          </p:nvSpPr>
          <p:spPr>
            <a:xfrm rot="5400000">
              <a:off x="7039767" y="3392201"/>
              <a:ext cx="1371600" cy="1188720"/>
            </a:xfrm>
            <a:prstGeom prst="hexagon">
              <a:avLst/>
            </a:prstGeom>
            <a:solidFill>
              <a:srgbClr val="88A6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Rectangle 54"/>
          <p:cNvSpPr/>
          <p:nvPr/>
        </p:nvSpPr>
        <p:spPr>
          <a:xfrm>
            <a:off x="3136201" y="2681931"/>
            <a:ext cx="15333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FP</a:t>
            </a:r>
          </a:p>
        </p:txBody>
      </p:sp>
      <p:sp>
        <p:nvSpPr>
          <p:cNvPr id="56" name="Rectangle 55"/>
          <p:cNvSpPr/>
          <p:nvPr/>
        </p:nvSpPr>
        <p:spPr>
          <a:xfrm>
            <a:off x="2952928" y="4140533"/>
            <a:ext cx="174571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-operation Agreement</a:t>
            </a:r>
          </a:p>
        </p:txBody>
      </p:sp>
      <p:sp>
        <p:nvSpPr>
          <p:cNvPr id="57" name="Rectangle 56"/>
          <p:cNvSpPr/>
          <p:nvPr/>
        </p:nvSpPr>
        <p:spPr>
          <a:xfrm>
            <a:off x="4535977" y="3608753"/>
            <a:ext cx="16139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FI</a:t>
            </a:r>
          </a:p>
        </p:txBody>
      </p:sp>
      <p:sp>
        <p:nvSpPr>
          <p:cNvPr id="58" name="Rectangle 57"/>
          <p:cNvSpPr/>
          <p:nvPr/>
        </p:nvSpPr>
        <p:spPr>
          <a:xfrm>
            <a:off x="4634051" y="5083783"/>
            <a:ext cx="132606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ster Service Agreement</a:t>
            </a:r>
          </a:p>
        </p:txBody>
      </p:sp>
      <p:sp>
        <p:nvSpPr>
          <p:cNvPr id="59" name="Rectangle 58"/>
          <p:cNvSpPr/>
          <p:nvPr/>
        </p:nvSpPr>
        <p:spPr>
          <a:xfrm>
            <a:off x="6013978" y="4335366"/>
            <a:ext cx="146610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tch Presentation</a:t>
            </a:r>
          </a:p>
        </p:txBody>
      </p:sp>
      <p:sp>
        <p:nvSpPr>
          <p:cNvPr id="60" name="Rectangle 59"/>
          <p:cNvSpPr/>
          <p:nvPr/>
        </p:nvSpPr>
        <p:spPr>
          <a:xfrm>
            <a:off x="6159643" y="2813680"/>
            <a:ext cx="11099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posals</a:t>
            </a:r>
          </a:p>
        </p:txBody>
      </p:sp>
      <p:sp>
        <p:nvSpPr>
          <p:cNvPr id="61" name="Rectangle 60"/>
          <p:cNvSpPr/>
          <p:nvPr/>
        </p:nvSpPr>
        <p:spPr>
          <a:xfrm>
            <a:off x="7657607" y="3539707"/>
            <a:ext cx="1034642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eer Co</a:t>
            </a:r>
            <a:r>
              <a:rPr kumimoji="0" lang="en-US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et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P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10376079" y="2149038"/>
            <a:ext cx="141871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reframe, NFP</a:t>
            </a:r>
          </a:p>
        </p:txBody>
      </p:sp>
      <p:sp>
        <p:nvSpPr>
          <p:cNvPr id="63" name="Rectangle 62"/>
          <p:cNvSpPr/>
          <p:nvPr/>
        </p:nvSpPr>
        <p:spPr>
          <a:xfrm>
            <a:off x="7413463" y="2073575"/>
            <a:ext cx="15229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shop PPT</a:t>
            </a:r>
          </a:p>
        </p:txBody>
      </p:sp>
      <p:sp>
        <p:nvSpPr>
          <p:cNvPr id="64" name="Rectangle 63"/>
          <p:cNvSpPr/>
          <p:nvPr/>
        </p:nvSpPr>
        <p:spPr>
          <a:xfrm>
            <a:off x="4802218" y="1823904"/>
            <a:ext cx="10261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ature list</a:t>
            </a:r>
          </a:p>
        </p:txBody>
      </p:sp>
      <p:sp>
        <p:nvSpPr>
          <p:cNvPr id="65" name="Rectangle 64"/>
          <p:cNvSpPr/>
          <p:nvPr/>
        </p:nvSpPr>
        <p:spPr>
          <a:xfrm>
            <a:off x="8844125" y="2864312"/>
            <a:ext cx="15290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vent Presentation</a:t>
            </a:r>
          </a:p>
        </p:txBody>
      </p:sp>
      <p:sp>
        <p:nvSpPr>
          <p:cNvPr id="66" name="Rectangle 65"/>
          <p:cNvSpPr/>
          <p:nvPr/>
        </p:nvSpPr>
        <p:spPr>
          <a:xfrm>
            <a:off x="5965405" y="932398"/>
            <a:ext cx="152688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Transformation</a:t>
            </a:r>
            <a:r>
              <a:rPr kumimoji="0" lang="en-US" sz="16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P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8933408" y="4726084"/>
            <a:ext cx="12991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FQ</a:t>
            </a:r>
          </a:p>
        </p:txBody>
      </p:sp>
      <p:sp>
        <p:nvSpPr>
          <p:cNvPr id="68" name="Rectangle 67"/>
          <p:cNvSpPr/>
          <p:nvPr/>
        </p:nvSpPr>
        <p:spPr>
          <a:xfrm>
            <a:off x="9134059" y="1201034"/>
            <a:ext cx="10025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e Studies</a:t>
            </a:r>
          </a:p>
        </p:txBody>
      </p:sp>
      <p:sp>
        <p:nvSpPr>
          <p:cNvPr id="70" name="Rectangle 69"/>
          <p:cNvSpPr/>
          <p:nvPr/>
        </p:nvSpPr>
        <p:spPr>
          <a:xfrm>
            <a:off x="10546789" y="3869545"/>
            <a:ext cx="10368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ite Paper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105793" y="2667817"/>
            <a:ext cx="277655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prstClr val="white"/>
                </a:solidFill>
                <a:latin typeface="Calibri" panose="020F0502020204030204"/>
              </a:rPr>
              <a:t>ST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IVERABLE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47414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70D6BF-CF4B-47DF-B131-A510DFFE806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403" t="22168" r="7470" b="8755"/>
          <a:stretch/>
        </p:blipFill>
        <p:spPr>
          <a:xfrm>
            <a:off x="-1" y="0"/>
            <a:ext cx="12200861" cy="6499952"/>
          </a:xfrm>
          <a:prstGeom prst="rect">
            <a:avLst/>
          </a:prstGeom>
        </p:spPr>
      </p:pic>
      <p:pic>
        <p:nvPicPr>
          <p:cNvPr id="5" name="Picture 4" descr="Celestia-R1---OverlayContentHD.png">
            <a:extLst>
              <a:ext uri="{FF2B5EF4-FFF2-40B4-BE49-F238E27FC236}">
                <a16:creationId xmlns:a16="http://schemas.microsoft.com/office/drawing/2014/main" id="{761BAF5D-C17F-47E9-9546-E7409836DF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401055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432382" y="238409"/>
            <a:ext cx="732723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TIVITIES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4206000" y="804905"/>
            <a:ext cx="3780000" cy="0"/>
          </a:xfrm>
          <a:prstGeom prst="line">
            <a:avLst/>
          </a:prstGeom>
          <a:ln w="381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5">
            <a:extLst>
              <a:ext uri="{FF2B5EF4-FFF2-40B4-BE49-F238E27FC236}">
                <a16:creationId xmlns:a16="http://schemas.microsoft.com/office/drawing/2014/main" id="{2805FC94-7E3C-4D61-B5C9-306C5DC0809B}"/>
              </a:ext>
            </a:extLst>
          </p:cNvPr>
          <p:cNvSpPr/>
          <p:nvPr/>
        </p:nvSpPr>
        <p:spPr>
          <a:xfrm>
            <a:off x="1132152" y="1267430"/>
            <a:ext cx="2082541" cy="995759"/>
          </a:xfrm>
          <a:prstGeom prst="roundRect">
            <a:avLst/>
          </a:prstGeom>
          <a:solidFill>
            <a:schemeClr val="tx2"/>
          </a:solidFill>
          <a:ln w="285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b="1" dirty="0">
                <a:solidFill>
                  <a:prstClr val="white"/>
                </a:solidFill>
                <a:latin typeface="Calibri" panose="020F0502020204030204"/>
              </a:rPr>
              <a:t>Business Eco-System </a:t>
            </a:r>
          </a:p>
          <a:p>
            <a:pPr algn="ctr"/>
            <a:r>
              <a:rPr lang="en-IN" sz="1400" dirty="0">
                <a:solidFill>
                  <a:prstClr val="white"/>
                </a:solidFill>
                <a:latin typeface="Calibri" panose="020F0502020204030204"/>
              </a:rPr>
              <a:t>SWOT Analysis | Fit-Gap Analysis</a:t>
            </a:r>
          </a:p>
        </p:txBody>
      </p:sp>
      <p:sp>
        <p:nvSpPr>
          <p:cNvPr id="15" name="Rounded Rectangle 9">
            <a:extLst>
              <a:ext uri="{FF2B5EF4-FFF2-40B4-BE49-F238E27FC236}">
                <a16:creationId xmlns:a16="http://schemas.microsoft.com/office/drawing/2014/main" id="{4BBDF7F2-8666-48FE-92CA-40A7D59D9BEF}"/>
              </a:ext>
            </a:extLst>
          </p:cNvPr>
          <p:cNvSpPr/>
          <p:nvPr/>
        </p:nvSpPr>
        <p:spPr>
          <a:xfrm>
            <a:off x="3408833" y="1267430"/>
            <a:ext cx="2202846" cy="995759"/>
          </a:xfrm>
          <a:prstGeom prst="roundRect">
            <a:avLst/>
          </a:prstGeom>
          <a:solidFill>
            <a:schemeClr val="tx2"/>
          </a:solidFill>
          <a:ln w="285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  <a:latin typeface="Calibri" panose="020F0502020204030204"/>
              </a:rPr>
              <a:t>Market Dynamics</a:t>
            </a:r>
          </a:p>
          <a:p>
            <a:pPr algn="ctr"/>
            <a:r>
              <a:rPr lang="en-US" sz="1400" dirty="0">
                <a:solidFill>
                  <a:prstClr val="white"/>
                </a:solidFill>
                <a:latin typeface="Calibri" panose="020F0502020204030204"/>
              </a:rPr>
              <a:t>Observations &amp; Trends</a:t>
            </a:r>
          </a:p>
          <a:p>
            <a:pPr algn="ctr"/>
            <a:r>
              <a:rPr lang="en-US" sz="1400" dirty="0">
                <a:solidFill>
                  <a:prstClr val="white"/>
                </a:solidFill>
                <a:latin typeface="Calibri" panose="020F0502020204030204"/>
              </a:rPr>
              <a:t>Competitor Analysis</a:t>
            </a:r>
          </a:p>
        </p:txBody>
      </p:sp>
      <p:sp>
        <p:nvSpPr>
          <p:cNvPr id="16" name="Rounded Rectangle 10">
            <a:extLst>
              <a:ext uri="{FF2B5EF4-FFF2-40B4-BE49-F238E27FC236}">
                <a16:creationId xmlns:a16="http://schemas.microsoft.com/office/drawing/2014/main" id="{00847619-594C-4C8F-84EC-E92C8746A8FD}"/>
              </a:ext>
            </a:extLst>
          </p:cNvPr>
          <p:cNvSpPr/>
          <p:nvPr/>
        </p:nvSpPr>
        <p:spPr>
          <a:xfrm>
            <a:off x="5805819" y="1267010"/>
            <a:ext cx="2487942" cy="996599"/>
          </a:xfrm>
          <a:prstGeom prst="roundRect">
            <a:avLst/>
          </a:prstGeom>
          <a:solidFill>
            <a:schemeClr val="tx2"/>
          </a:solidFill>
          <a:ln w="285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  <a:latin typeface="Calibri" panose="020F0502020204030204"/>
              </a:rPr>
              <a:t>Digital Transformation</a:t>
            </a:r>
          </a:p>
          <a:p>
            <a:pPr algn="ctr"/>
            <a:r>
              <a:rPr lang="en-IN" sz="1400" dirty="0">
                <a:solidFill>
                  <a:prstClr val="white"/>
                </a:solidFill>
                <a:latin typeface="Calibri" panose="020F0502020204030204"/>
              </a:rPr>
              <a:t>Vision &amp; Positioning</a:t>
            </a:r>
          </a:p>
        </p:txBody>
      </p:sp>
      <p:sp>
        <p:nvSpPr>
          <p:cNvPr id="17" name="Rounded Rectangle 11">
            <a:extLst>
              <a:ext uri="{FF2B5EF4-FFF2-40B4-BE49-F238E27FC236}">
                <a16:creationId xmlns:a16="http://schemas.microsoft.com/office/drawing/2014/main" id="{601B1E80-142F-42C9-A4DE-B7F09F809B11}"/>
              </a:ext>
            </a:extLst>
          </p:cNvPr>
          <p:cNvSpPr/>
          <p:nvPr/>
        </p:nvSpPr>
        <p:spPr>
          <a:xfrm>
            <a:off x="8487900" y="1267010"/>
            <a:ext cx="2411675" cy="996599"/>
          </a:xfrm>
          <a:prstGeom prst="roundRect">
            <a:avLst/>
          </a:prstGeom>
          <a:solidFill>
            <a:schemeClr val="tx2"/>
          </a:solidFill>
          <a:ln w="285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  <a:latin typeface="Calibri" panose="020F0502020204030204"/>
              </a:rPr>
              <a:t>Brainstorm</a:t>
            </a:r>
          </a:p>
          <a:p>
            <a:pPr algn="ctr"/>
            <a:r>
              <a:rPr lang="en-IN" sz="1400" dirty="0">
                <a:solidFill>
                  <a:prstClr val="white"/>
                </a:solidFill>
                <a:latin typeface="Calibri" panose="020F0502020204030204"/>
              </a:rPr>
              <a:t>Concepts | Value Drivers | Expectation Matrix</a:t>
            </a:r>
          </a:p>
        </p:txBody>
      </p:sp>
      <p:sp>
        <p:nvSpPr>
          <p:cNvPr id="22" name="Rounded Rectangle 14">
            <a:extLst>
              <a:ext uri="{FF2B5EF4-FFF2-40B4-BE49-F238E27FC236}">
                <a16:creationId xmlns:a16="http://schemas.microsoft.com/office/drawing/2014/main" id="{B5FA8618-BB32-4C60-A5CB-CEF4E2F434DD}"/>
              </a:ext>
            </a:extLst>
          </p:cNvPr>
          <p:cNvSpPr/>
          <p:nvPr/>
        </p:nvSpPr>
        <p:spPr>
          <a:xfrm>
            <a:off x="5835197" y="2591075"/>
            <a:ext cx="2487942" cy="1011528"/>
          </a:xfrm>
          <a:prstGeom prst="roundRect">
            <a:avLst/>
          </a:prstGeom>
          <a:solidFill>
            <a:schemeClr val="tx2"/>
          </a:solidFill>
          <a:ln w="285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  <a:latin typeface="Calibri" panose="020F0502020204030204"/>
              </a:rPr>
              <a:t>Technology Integrations</a:t>
            </a:r>
          </a:p>
          <a:p>
            <a:pPr algn="ctr"/>
            <a:r>
              <a:rPr lang="en-IN" sz="1400" dirty="0">
                <a:solidFill>
                  <a:prstClr val="white"/>
                </a:solidFill>
                <a:latin typeface="Calibri" panose="020F0502020204030204"/>
              </a:rPr>
              <a:t>External Systems | Applications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AA99828A-4688-4F0F-AC2B-0A30CECC11A7}"/>
              </a:ext>
            </a:extLst>
          </p:cNvPr>
          <p:cNvSpPr/>
          <p:nvPr/>
        </p:nvSpPr>
        <p:spPr>
          <a:xfrm>
            <a:off x="1132152" y="2591075"/>
            <a:ext cx="2082541" cy="1011528"/>
          </a:xfrm>
          <a:prstGeom prst="roundRect">
            <a:avLst/>
          </a:prstGeom>
          <a:solidFill>
            <a:schemeClr val="tx2"/>
          </a:solidFill>
          <a:ln w="285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  <a:latin typeface="Calibri" panose="020F0502020204030204"/>
              </a:rPr>
              <a:t>Holistic IT Vision</a:t>
            </a:r>
          </a:p>
          <a:p>
            <a:pPr algn="ctr"/>
            <a:r>
              <a:rPr lang="en-US" sz="1400" dirty="0">
                <a:solidFill>
                  <a:prstClr val="white"/>
                </a:solidFill>
              </a:rPr>
              <a:t>IT applications Landscape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09D6E5FA-D3CB-4902-AF6B-369E2B486A8C}"/>
              </a:ext>
            </a:extLst>
          </p:cNvPr>
          <p:cNvSpPr/>
          <p:nvPr/>
        </p:nvSpPr>
        <p:spPr>
          <a:xfrm>
            <a:off x="3423522" y="2591075"/>
            <a:ext cx="2202846" cy="1011528"/>
          </a:xfrm>
          <a:prstGeom prst="roundRect">
            <a:avLst/>
          </a:prstGeom>
          <a:solidFill>
            <a:schemeClr val="tx2"/>
          </a:solidFill>
          <a:ln w="285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  <a:latin typeface="Calibri" panose="020F0502020204030204"/>
              </a:rPr>
              <a:t>Technology </a:t>
            </a:r>
          </a:p>
          <a:p>
            <a:pPr algn="ctr"/>
            <a:r>
              <a:rPr lang="en-US" sz="1400" dirty="0">
                <a:solidFill>
                  <a:prstClr val="white"/>
                </a:solidFill>
                <a:latin typeface="Calibri" panose="020F0502020204030204"/>
              </a:rPr>
              <a:t>Stakeholder’s Interaction</a:t>
            </a:r>
          </a:p>
        </p:txBody>
      </p:sp>
      <p:sp>
        <p:nvSpPr>
          <p:cNvPr id="25" name="Rounded Rectangle 15">
            <a:extLst>
              <a:ext uri="{FF2B5EF4-FFF2-40B4-BE49-F238E27FC236}">
                <a16:creationId xmlns:a16="http://schemas.microsoft.com/office/drawing/2014/main" id="{D436F508-5C21-4310-9A03-11FEF991F0D5}"/>
              </a:ext>
            </a:extLst>
          </p:cNvPr>
          <p:cNvSpPr/>
          <p:nvPr/>
        </p:nvSpPr>
        <p:spPr>
          <a:xfrm>
            <a:off x="8531967" y="2591075"/>
            <a:ext cx="2411675" cy="1011528"/>
          </a:xfrm>
          <a:prstGeom prst="roundRect">
            <a:avLst/>
          </a:prstGeom>
          <a:solidFill>
            <a:schemeClr val="tx2"/>
          </a:solidFill>
          <a:ln w="285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  <a:latin typeface="Calibri" panose="020F0502020204030204"/>
              </a:rPr>
              <a:t>Solution Strategy</a:t>
            </a:r>
          </a:p>
          <a:p>
            <a:pPr algn="ctr"/>
            <a:r>
              <a:rPr lang="en-IN" sz="1400" dirty="0">
                <a:solidFill>
                  <a:prstClr val="white"/>
                </a:solidFill>
                <a:latin typeface="Calibri" panose="020F0502020204030204"/>
              </a:rPr>
              <a:t>MOSCOW | NFP | POC </a:t>
            </a:r>
          </a:p>
        </p:txBody>
      </p:sp>
      <p:sp>
        <p:nvSpPr>
          <p:cNvPr id="26" name="Rounded Rectangle 14">
            <a:extLst>
              <a:ext uri="{FF2B5EF4-FFF2-40B4-BE49-F238E27FC236}">
                <a16:creationId xmlns:a16="http://schemas.microsoft.com/office/drawing/2014/main" id="{D7ABAAF4-AC23-4AD7-9CB3-867DB65EFE9C}"/>
              </a:ext>
            </a:extLst>
          </p:cNvPr>
          <p:cNvSpPr/>
          <p:nvPr/>
        </p:nvSpPr>
        <p:spPr>
          <a:xfrm>
            <a:off x="5835197" y="3953491"/>
            <a:ext cx="2487942" cy="1011528"/>
          </a:xfrm>
          <a:prstGeom prst="roundRect">
            <a:avLst/>
          </a:prstGeom>
          <a:solidFill>
            <a:schemeClr val="tx2"/>
          </a:solidFill>
          <a:ln w="285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  <a:latin typeface="Calibri" panose="020F0502020204030204"/>
              </a:rPr>
              <a:t>Roadmap</a:t>
            </a:r>
          </a:p>
          <a:p>
            <a:pPr algn="ctr"/>
            <a:r>
              <a:rPr lang="en-IN" sz="1400" dirty="0">
                <a:solidFill>
                  <a:prstClr val="white"/>
                </a:solidFill>
                <a:latin typeface="Calibri" panose="020F0502020204030204"/>
              </a:rPr>
              <a:t>Concepts </a:t>
            </a:r>
            <a:r>
              <a:rPr lang="en-IN" sz="1400" dirty="0">
                <a:solidFill>
                  <a:prstClr val="white"/>
                </a:solidFill>
                <a:latin typeface="Calibri" panose="020F0502020204030204"/>
                <a:sym typeface="Wingdings" panose="05000000000000000000" pitchFamily="2" charset="2"/>
              </a:rPr>
              <a:t></a:t>
            </a:r>
            <a:r>
              <a:rPr lang="en-IN" sz="1400" dirty="0">
                <a:solidFill>
                  <a:prstClr val="white"/>
                </a:solidFill>
                <a:latin typeface="Calibri" panose="020F0502020204030204"/>
              </a:rPr>
              <a:t>solutions </a:t>
            </a:r>
            <a:r>
              <a:rPr lang="en-IN" sz="1400" dirty="0">
                <a:solidFill>
                  <a:prstClr val="white"/>
                </a:solidFill>
                <a:latin typeface="Calibri" panose="020F0502020204030204"/>
                <a:sym typeface="Wingdings" panose="05000000000000000000" pitchFamily="2" charset="2"/>
              </a:rPr>
              <a:t></a:t>
            </a:r>
            <a:r>
              <a:rPr lang="en-IN" sz="1400" dirty="0">
                <a:solidFill>
                  <a:prstClr val="white"/>
                </a:solidFill>
                <a:latin typeface="Calibri" panose="020F0502020204030204"/>
              </a:rPr>
              <a:t>projects </a:t>
            </a:r>
            <a:r>
              <a:rPr lang="en-IN" sz="1400" dirty="0">
                <a:solidFill>
                  <a:prstClr val="white"/>
                </a:solidFill>
                <a:latin typeface="Calibri" panose="020F0502020204030204"/>
                <a:sym typeface="Wingdings" panose="05000000000000000000" pitchFamily="2" charset="2"/>
              </a:rPr>
              <a:t></a:t>
            </a:r>
            <a:r>
              <a:rPr lang="en-IN" sz="1400" dirty="0">
                <a:solidFill>
                  <a:prstClr val="white"/>
                </a:solidFill>
                <a:latin typeface="Calibri" panose="020F0502020204030204"/>
              </a:rPr>
              <a:t>processes</a:t>
            </a:r>
          </a:p>
        </p:txBody>
      </p:sp>
      <p:sp>
        <p:nvSpPr>
          <p:cNvPr id="27" name="Rounded Rectangle 12">
            <a:extLst>
              <a:ext uri="{FF2B5EF4-FFF2-40B4-BE49-F238E27FC236}">
                <a16:creationId xmlns:a16="http://schemas.microsoft.com/office/drawing/2014/main" id="{E56EE953-ACEB-475C-97ED-00DAE111FB8B}"/>
              </a:ext>
            </a:extLst>
          </p:cNvPr>
          <p:cNvSpPr/>
          <p:nvPr/>
        </p:nvSpPr>
        <p:spPr>
          <a:xfrm>
            <a:off x="1132152" y="3953491"/>
            <a:ext cx="2082541" cy="1011528"/>
          </a:xfrm>
          <a:prstGeom prst="roundRect">
            <a:avLst/>
          </a:prstGeom>
          <a:solidFill>
            <a:schemeClr val="tx2"/>
          </a:solidFill>
          <a:ln w="285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  <a:latin typeface="Calibri" panose="020F0502020204030204"/>
              </a:rPr>
              <a:t>Business Strategy</a:t>
            </a:r>
          </a:p>
          <a:p>
            <a:pPr algn="ctr"/>
            <a:r>
              <a:rPr lang="en-US" sz="1400" dirty="0">
                <a:solidFill>
                  <a:prstClr val="white"/>
                </a:solidFill>
                <a:latin typeface="Calibri" panose="020F0502020204030204"/>
              </a:rPr>
              <a:t>4P Transformation strategy</a:t>
            </a:r>
            <a:endParaRPr lang="en-IN" sz="14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" name="Rounded Rectangle 13">
            <a:extLst>
              <a:ext uri="{FF2B5EF4-FFF2-40B4-BE49-F238E27FC236}">
                <a16:creationId xmlns:a16="http://schemas.microsoft.com/office/drawing/2014/main" id="{82B111C9-3BC4-4422-8872-09260D326C06}"/>
              </a:ext>
            </a:extLst>
          </p:cNvPr>
          <p:cNvSpPr/>
          <p:nvPr/>
        </p:nvSpPr>
        <p:spPr>
          <a:xfrm>
            <a:off x="3423522" y="3953491"/>
            <a:ext cx="2202846" cy="1011528"/>
          </a:xfrm>
          <a:prstGeom prst="roundRect">
            <a:avLst/>
          </a:prstGeom>
          <a:solidFill>
            <a:schemeClr val="tx2"/>
          </a:solidFill>
          <a:ln w="285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  <a:latin typeface="Calibri" panose="020F0502020204030204"/>
              </a:rPr>
              <a:t>Technology  Strategy</a:t>
            </a:r>
          </a:p>
          <a:p>
            <a:pPr algn="ctr"/>
            <a:r>
              <a:rPr lang="en-IN" sz="1400" dirty="0">
                <a:solidFill>
                  <a:prstClr val="white"/>
                </a:solidFill>
              </a:rPr>
              <a:t>Tech Solutions | Applications | Frameworks</a:t>
            </a:r>
            <a:endParaRPr lang="en-US" sz="14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9" name="Rounded Rectangle 15">
            <a:extLst>
              <a:ext uri="{FF2B5EF4-FFF2-40B4-BE49-F238E27FC236}">
                <a16:creationId xmlns:a16="http://schemas.microsoft.com/office/drawing/2014/main" id="{A8D3AB6E-15FA-4392-BF38-60DAA9C66F13}"/>
              </a:ext>
            </a:extLst>
          </p:cNvPr>
          <p:cNvSpPr/>
          <p:nvPr/>
        </p:nvSpPr>
        <p:spPr>
          <a:xfrm>
            <a:off x="8531967" y="3953491"/>
            <a:ext cx="2411675" cy="1011528"/>
          </a:xfrm>
          <a:prstGeom prst="roundRect">
            <a:avLst/>
          </a:prstGeom>
          <a:solidFill>
            <a:schemeClr val="tx2"/>
          </a:solidFill>
          <a:ln w="285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  <a:latin typeface="Calibri" panose="020F0502020204030204"/>
              </a:rPr>
              <a:t>Implementation</a:t>
            </a:r>
          </a:p>
          <a:p>
            <a:pPr algn="ctr"/>
            <a:r>
              <a:rPr lang="en-IN" sz="1400" dirty="0">
                <a:solidFill>
                  <a:prstClr val="white"/>
                </a:solidFill>
                <a:latin typeface="Calibri" panose="020F0502020204030204"/>
              </a:rPr>
              <a:t>High-level plan | Budget | Team organization | Involvement</a:t>
            </a:r>
          </a:p>
        </p:txBody>
      </p:sp>
      <p:sp>
        <p:nvSpPr>
          <p:cNvPr id="30" name="矩形 45"/>
          <p:cNvSpPr/>
          <p:nvPr/>
        </p:nvSpPr>
        <p:spPr>
          <a:xfrm>
            <a:off x="-3175" y="5488950"/>
            <a:ext cx="12192000" cy="912105"/>
          </a:xfrm>
          <a:prstGeom prst="rect">
            <a:avLst/>
          </a:prstGeom>
          <a:solidFill>
            <a:srgbClr val="D7EE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noProof="0" dirty="0">
                <a:solidFill>
                  <a:srgbClr val="002060"/>
                </a:solidFill>
                <a:latin typeface="Segoe UI Semibold" panose="020B0702040204020203" pitchFamily="34" charset="0"/>
                <a:ea typeface="宋体" panose="02010600030101010101" pitchFamily="2" charset="-122"/>
                <a:cs typeface="Segoe UI Semibold" panose="020B0702040204020203" pitchFamily="34" charset="0"/>
              </a:rPr>
              <a:t>TOOLS &amp; TECHNIQUES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goe UI Semibold" panose="020B0702040204020203" pitchFamily="34" charset="0"/>
              <a:ea typeface="宋体" panose="02010600030101010101" pitchFamily="2" charset="-122"/>
              <a:cs typeface="Segoe UI Semibold" panose="020B0702040204020203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924303" y="5868961"/>
            <a:ext cx="1642628" cy="399393"/>
          </a:xfrm>
          <a:prstGeom prst="rect">
            <a:avLst/>
          </a:prstGeom>
          <a:solidFill>
            <a:srgbClr val="68C7EC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black"/>
                </a:solidFill>
                <a:latin typeface="Segoe UI" panose="020B0502040204020203" pitchFamily="34" charset="0"/>
                <a:ea typeface="微软雅黑"/>
                <a:cs typeface="Segoe UI" panose="020B0502040204020203" pitchFamily="34" charset="0"/>
              </a:rPr>
              <a:t>X-Mind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微软雅黑"/>
              <a:cs typeface="Segoe UI" panose="020B0502040204020203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2709037" y="5868961"/>
            <a:ext cx="1642628" cy="399393"/>
          </a:xfrm>
          <a:prstGeom prst="rect">
            <a:avLst/>
          </a:prstGeom>
          <a:solidFill>
            <a:srgbClr val="68C7EC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black"/>
                </a:solidFill>
                <a:latin typeface="Segoe UI" panose="020B0502040204020203" pitchFamily="34" charset="0"/>
                <a:ea typeface="微软雅黑"/>
                <a:cs typeface="Segoe UI" panose="020B0502040204020203" pitchFamily="34" charset="0"/>
              </a:rPr>
              <a:t>Azur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微软雅黑"/>
              <a:cs typeface="Segoe UI" panose="020B0502040204020203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4493771" y="5868961"/>
            <a:ext cx="1642628" cy="399393"/>
          </a:xfrm>
          <a:prstGeom prst="rect">
            <a:avLst/>
          </a:prstGeom>
          <a:solidFill>
            <a:srgbClr val="68C7EC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black"/>
                </a:solidFill>
                <a:latin typeface="Segoe UI" panose="020B0502040204020203" pitchFamily="34" charset="0"/>
                <a:ea typeface="微软雅黑"/>
                <a:cs typeface="Segoe UI" panose="020B0502040204020203" pitchFamily="34" charset="0"/>
              </a:rPr>
              <a:t>MS Offic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微软雅黑"/>
              <a:cs typeface="Segoe UI" panose="020B0502040204020203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6278505" y="5868961"/>
            <a:ext cx="1642628" cy="399393"/>
          </a:xfrm>
          <a:prstGeom prst="rect">
            <a:avLst/>
          </a:prstGeom>
          <a:solidFill>
            <a:srgbClr val="68C7EC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noProof="0" dirty="0">
                <a:solidFill>
                  <a:prstClr val="black"/>
                </a:solidFill>
                <a:latin typeface="Segoe UI" panose="020B0502040204020203" pitchFamily="34" charset="0"/>
                <a:ea typeface="微软雅黑"/>
                <a:cs typeface="Segoe UI" panose="020B0502040204020203" pitchFamily="34" charset="0"/>
              </a:rPr>
              <a:t>Pictograph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微软雅黑"/>
              <a:cs typeface="Segoe UI" panose="020B0502040204020203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8095284" y="5868961"/>
            <a:ext cx="1642628" cy="399393"/>
          </a:xfrm>
          <a:prstGeom prst="rect">
            <a:avLst/>
          </a:prstGeom>
          <a:solidFill>
            <a:srgbClr val="68C7EC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black"/>
                </a:solidFill>
                <a:latin typeface="Segoe UI" panose="020B0502040204020203" pitchFamily="34" charset="0"/>
                <a:ea typeface="微软雅黑"/>
                <a:cs typeface="Segoe UI" panose="020B0502040204020203" pitchFamily="34" charset="0"/>
              </a:rPr>
              <a:t>Marvel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微软雅黑"/>
              <a:cs typeface="Segoe UI" panose="020B0502040204020203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9912063" y="5868961"/>
            <a:ext cx="1642628" cy="399393"/>
          </a:xfrm>
          <a:prstGeom prst="rect">
            <a:avLst/>
          </a:prstGeom>
          <a:solidFill>
            <a:srgbClr val="68C7EC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微软雅黑"/>
                <a:cs typeface="Segoe UI" panose="020B0502040204020203" pitchFamily="34" charset="0"/>
              </a:rPr>
              <a:t>Google</a:t>
            </a:r>
          </a:p>
        </p:txBody>
      </p:sp>
    </p:spTree>
    <p:extLst>
      <p:ext uri="{BB962C8B-B14F-4D97-AF65-F5344CB8AC3E}">
        <p14:creationId xmlns:p14="http://schemas.microsoft.com/office/powerpoint/2010/main" val="4144890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0E80209-530E-4C12-AF7C-646E9D1026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33" t="11401" r="-7432"/>
          <a:stretch/>
        </p:blipFill>
        <p:spPr>
          <a:xfrm flipH="1">
            <a:off x="3720847" y="2588159"/>
            <a:ext cx="2610277" cy="1983321"/>
          </a:xfrm>
          <a:prstGeom prst="parallelogram">
            <a:avLst>
              <a:gd name="adj" fmla="val 56967"/>
            </a:avLst>
          </a:prstGeom>
          <a:solidFill>
            <a:srgbClr val="0A0A0A"/>
          </a:solidFill>
        </p:spPr>
      </p:pic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9" t="24184" r="27057" b="6313"/>
          <a:stretch/>
        </p:blipFill>
        <p:spPr>
          <a:xfrm flipH="1">
            <a:off x="2082279" y="2588160"/>
            <a:ext cx="2610280" cy="1983320"/>
          </a:xfrm>
          <a:prstGeom prst="parallelogram">
            <a:avLst>
              <a:gd name="adj" fmla="val 56647"/>
            </a:avLst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25040" y="2588210"/>
            <a:ext cx="2610280" cy="1976781"/>
          </a:xfrm>
          <a:prstGeom prst="parallelogram">
            <a:avLst>
              <a:gd name="adj" fmla="val 56647"/>
            </a:avLst>
          </a:prstGeom>
        </p:spPr>
      </p:pic>
      <p:sp>
        <p:nvSpPr>
          <p:cNvPr id="3" name="TextBox 2"/>
          <p:cNvSpPr txBox="1"/>
          <p:nvPr/>
        </p:nvSpPr>
        <p:spPr>
          <a:xfrm>
            <a:off x="1066277" y="904245"/>
            <a:ext cx="289578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dirty="0">
                <a:solidFill>
                  <a:schemeClr val="bg1"/>
                </a:solidFill>
                <a:latin typeface="Trebuchet MS" panose="020B0603020202020204" pitchFamily="34" charset="0"/>
              </a:rPr>
              <a:t>THANK YOU</a:t>
            </a:r>
          </a:p>
        </p:txBody>
      </p:sp>
      <p:sp>
        <p:nvSpPr>
          <p:cNvPr id="14" name="Oval 13"/>
          <p:cNvSpPr/>
          <p:nvPr/>
        </p:nvSpPr>
        <p:spPr>
          <a:xfrm>
            <a:off x="4022613" y="772526"/>
            <a:ext cx="729778" cy="7297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/>
          <p:cNvGrpSpPr/>
          <p:nvPr/>
        </p:nvGrpSpPr>
        <p:grpSpPr>
          <a:xfrm>
            <a:off x="8232740" y="2152072"/>
            <a:ext cx="3268870" cy="2893223"/>
            <a:chOff x="8142563" y="2231491"/>
            <a:chExt cx="3268870" cy="2893223"/>
          </a:xfrm>
        </p:grpSpPr>
        <p:sp>
          <p:nvSpPr>
            <p:cNvPr id="17" name="TextBox 20"/>
            <p:cNvSpPr txBox="1"/>
            <p:nvPr/>
          </p:nvSpPr>
          <p:spPr>
            <a:xfrm>
              <a:off x="8142563" y="2231491"/>
              <a:ext cx="251589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800" dirty="0">
                  <a:solidFill>
                    <a:srgbClr val="3B3B3D"/>
                  </a:solidFill>
                  <a:latin typeface="+mj-lt"/>
                </a:rPr>
                <a:t>Contact us</a:t>
              </a:r>
            </a:p>
          </p:txBody>
        </p:sp>
        <p:sp>
          <p:nvSpPr>
            <p:cNvPr id="18" name="TextBox 22"/>
            <p:cNvSpPr txBox="1"/>
            <p:nvPr/>
          </p:nvSpPr>
          <p:spPr>
            <a:xfrm>
              <a:off x="8142563" y="4570716"/>
              <a:ext cx="218921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dirty="0">
                  <a:solidFill>
                    <a:srgbClr val="0F75BC"/>
                  </a:solidFill>
                  <a:latin typeface="+mj-lt"/>
                </a:rPr>
                <a:t>E-mail</a:t>
              </a:r>
            </a:p>
            <a:p>
              <a:r>
                <a:rPr lang="en-US" sz="1400" kern="0" spc="40" dirty="0">
                  <a:solidFill>
                    <a:srgbClr val="3B3B3D"/>
                  </a:solidFill>
                  <a:latin typeface="+mj-lt"/>
                </a:rPr>
                <a:t>info@autofacets.com</a:t>
              </a:r>
            </a:p>
          </p:txBody>
        </p:sp>
        <p:sp>
          <p:nvSpPr>
            <p:cNvPr id="19" name="TextBox 28"/>
            <p:cNvSpPr txBox="1"/>
            <p:nvPr/>
          </p:nvSpPr>
          <p:spPr>
            <a:xfrm>
              <a:off x="8142563" y="2722092"/>
              <a:ext cx="3268870" cy="11387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dirty="0">
                  <a:solidFill>
                    <a:srgbClr val="0F75BC"/>
                  </a:solidFill>
                  <a:latin typeface="+mj-lt"/>
                </a:rPr>
                <a:t>Head office</a:t>
              </a:r>
            </a:p>
            <a:p>
              <a:pPr lvl="0">
                <a:lnSpc>
                  <a:spcPct val="120000"/>
                </a:lnSpc>
                <a:defRPr/>
              </a:pPr>
              <a:r>
                <a:rPr lang="en-US" sz="2000" b="1" kern="0" dirty="0">
                  <a:solidFill>
                    <a:srgbClr val="3B3B3D"/>
                  </a:solidFill>
                  <a:latin typeface="+mj-lt"/>
                </a:rPr>
                <a:t>NINtec B.V. | Gateway Group</a:t>
              </a:r>
            </a:p>
            <a:p>
              <a:pPr lvl="0">
                <a:defRPr/>
              </a:pPr>
              <a:r>
                <a:rPr lang="en-US" sz="1400" kern="0" dirty="0">
                  <a:solidFill>
                    <a:srgbClr val="3B3B3D"/>
                  </a:solidFill>
                  <a:latin typeface="+mj-lt"/>
                </a:rPr>
                <a:t>Maria Montessorilaan 5, 2719 DB</a:t>
              </a:r>
            </a:p>
            <a:p>
              <a:pPr lvl="0">
                <a:defRPr/>
              </a:pPr>
              <a:r>
                <a:rPr lang="en-US" sz="1400" kern="0" dirty="0">
                  <a:solidFill>
                    <a:srgbClr val="3B3B3D"/>
                  </a:solidFill>
                  <a:latin typeface="+mj-lt"/>
                </a:rPr>
                <a:t>Zoetermeer, The Netherlands</a:t>
              </a:r>
              <a:endParaRPr lang="nl-NL" sz="1400" kern="0" dirty="0">
                <a:solidFill>
                  <a:srgbClr val="3B3B3D"/>
                </a:solidFill>
                <a:latin typeface="+mj-lt"/>
              </a:endParaRPr>
            </a:p>
          </p:txBody>
        </p:sp>
        <p:sp>
          <p:nvSpPr>
            <p:cNvPr id="20" name="TextBox 26"/>
            <p:cNvSpPr txBox="1"/>
            <p:nvPr/>
          </p:nvSpPr>
          <p:spPr>
            <a:xfrm>
              <a:off x="8142563" y="3932835"/>
              <a:ext cx="1819231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dirty="0">
                  <a:solidFill>
                    <a:srgbClr val="0F75BC"/>
                  </a:solidFill>
                  <a:latin typeface="+mj-lt"/>
                </a:rPr>
                <a:t>Phone</a:t>
              </a:r>
            </a:p>
            <a:p>
              <a:r>
                <a:rPr lang="en-US" sz="1400" dirty="0">
                  <a:solidFill>
                    <a:srgbClr val="3B3B3D"/>
                  </a:solidFill>
                  <a:latin typeface="+mj-lt"/>
                </a:rPr>
                <a:t>+31 79 320 0980</a:t>
              </a:r>
            </a:p>
          </p:txBody>
        </p:sp>
      </p:grpSp>
      <p:cxnSp>
        <p:nvCxnSpPr>
          <p:cNvPr id="21" name="Straight Connector 20"/>
          <p:cNvCxnSpPr/>
          <p:nvPr/>
        </p:nvCxnSpPr>
        <p:spPr>
          <a:xfrm>
            <a:off x="7911940" y="802963"/>
            <a:ext cx="0" cy="68975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45027BB0-1537-474C-B33C-E9CC70BDF78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7486" y="808314"/>
            <a:ext cx="3473162" cy="676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169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0AFD7F3-435F-4E48-AD8E-1746A82DECEA}"/>
              </a:ext>
            </a:extLst>
          </p:cNvPr>
          <p:cNvSpPr/>
          <p:nvPr/>
        </p:nvSpPr>
        <p:spPr>
          <a:xfrm>
            <a:off x="-1" y="0"/>
            <a:ext cx="6117953" cy="6858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 </a:t>
            </a:r>
            <a:endParaRPr kumimoji="0" lang="da-DK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0AFD7F3-435F-4E48-AD8E-1746A82DECEA}"/>
              </a:ext>
            </a:extLst>
          </p:cNvPr>
          <p:cNvSpPr/>
          <p:nvPr/>
        </p:nvSpPr>
        <p:spPr>
          <a:xfrm>
            <a:off x="6115050" y="0"/>
            <a:ext cx="6084000" cy="6858000"/>
          </a:xfrm>
          <a:prstGeom prst="rect">
            <a:avLst/>
          </a:prstGeom>
          <a:solidFill>
            <a:srgbClr val="0E9AA7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 </a:t>
            </a:r>
            <a:endParaRPr kumimoji="0" lang="da-DK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40" name="Rectangle: Top Corners Rounded 6">
            <a:extLst>
              <a:ext uri="{FF2B5EF4-FFF2-40B4-BE49-F238E27FC236}">
                <a16:creationId xmlns:a16="http://schemas.microsoft.com/office/drawing/2014/main" id="{92CA7838-86BF-4483-863E-837B701480E2}"/>
              </a:ext>
            </a:extLst>
          </p:cNvPr>
          <p:cNvSpPr/>
          <p:nvPr/>
        </p:nvSpPr>
        <p:spPr>
          <a:xfrm>
            <a:off x="745236" y="33051"/>
            <a:ext cx="4078224" cy="548640"/>
          </a:xfrm>
          <a:prstGeom prst="round2Same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MPORTER |DEALERSHIP EXPERIENCE</a:t>
            </a:r>
          </a:p>
        </p:txBody>
      </p:sp>
      <p:sp>
        <p:nvSpPr>
          <p:cNvPr id="41" name="Rectangle: Top Corners Rounded 6">
            <a:extLst>
              <a:ext uri="{FF2B5EF4-FFF2-40B4-BE49-F238E27FC236}">
                <a16:creationId xmlns:a16="http://schemas.microsoft.com/office/drawing/2014/main" id="{92CA7838-86BF-4483-863E-837B701480E2}"/>
              </a:ext>
            </a:extLst>
          </p:cNvPr>
          <p:cNvSpPr/>
          <p:nvPr/>
        </p:nvSpPr>
        <p:spPr>
          <a:xfrm>
            <a:off x="7117938" y="33051"/>
            <a:ext cx="4078224" cy="548640"/>
          </a:xfrm>
          <a:prstGeom prst="round2Same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EASE | RENTAL | MOBILITY EXPERIENCE</a:t>
            </a:r>
          </a:p>
        </p:txBody>
      </p:sp>
      <p:sp>
        <p:nvSpPr>
          <p:cNvPr id="74" name="Flowchart: Delay 73"/>
          <p:cNvSpPr/>
          <p:nvPr/>
        </p:nvSpPr>
        <p:spPr>
          <a:xfrm>
            <a:off x="0" y="697230"/>
            <a:ext cx="1120136" cy="5440680"/>
          </a:xfrm>
          <a:prstGeom prst="flowChartDelay">
            <a:avLst/>
          </a:prstGeom>
          <a:solidFill>
            <a:srgbClr val="F2F2F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Flowchart: Delay 75"/>
          <p:cNvSpPr/>
          <p:nvPr/>
        </p:nvSpPr>
        <p:spPr>
          <a:xfrm flipH="1">
            <a:off x="4952998" y="697230"/>
            <a:ext cx="1120136" cy="5440680"/>
          </a:xfrm>
          <a:prstGeom prst="flowChartDelay">
            <a:avLst/>
          </a:prstGeom>
          <a:solidFill>
            <a:srgbClr val="F2F2F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8" name="Picture 12" descr="DS">
            <a:extLst>
              <a:ext uri="{FF2B5EF4-FFF2-40B4-BE49-F238E27FC236}">
                <a16:creationId xmlns:a16="http://schemas.microsoft.com/office/drawing/2014/main" id="{D025916E-D3B2-4E65-BECB-57CCECFE9A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183" y="2509872"/>
            <a:ext cx="283958" cy="351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2" descr="Mercedes-Benz">
            <a:extLst>
              <a:ext uri="{FF2B5EF4-FFF2-40B4-BE49-F238E27FC236}">
                <a16:creationId xmlns:a16="http://schemas.microsoft.com/office/drawing/2014/main" id="{CA1D0AB8-36FF-4522-8714-C7CDD3B16F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156" y="1177528"/>
            <a:ext cx="280969" cy="280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4" descr="Abarath">
            <a:extLst>
              <a:ext uri="{FF2B5EF4-FFF2-40B4-BE49-F238E27FC236}">
                <a16:creationId xmlns:a16="http://schemas.microsoft.com/office/drawing/2014/main" id="{82A88DC2-0A21-4491-B8C8-B5FCA26D2D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24" t="13382" r="16618" b="11237"/>
          <a:stretch/>
        </p:blipFill>
        <p:spPr bwMode="auto">
          <a:xfrm>
            <a:off x="491232" y="1142406"/>
            <a:ext cx="307310" cy="351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6" descr="Alfa Romeo">
            <a:extLst>
              <a:ext uri="{FF2B5EF4-FFF2-40B4-BE49-F238E27FC236}">
                <a16:creationId xmlns:a16="http://schemas.microsoft.com/office/drawing/2014/main" id="{F4A62A10-4FD8-4DC0-8743-17C9C0D505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27" t="14024" r="13417" b="14060"/>
          <a:stretch/>
        </p:blipFill>
        <p:spPr bwMode="auto">
          <a:xfrm>
            <a:off x="101246" y="2308745"/>
            <a:ext cx="370457" cy="351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8" descr="Jaguar">
            <a:extLst>
              <a:ext uri="{FF2B5EF4-FFF2-40B4-BE49-F238E27FC236}">
                <a16:creationId xmlns:a16="http://schemas.microsoft.com/office/drawing/2014/main" id="{26D8F267-4D25-4184-B385-1FE749E79B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00" t="27659" r="7183" b="26202"/>
          <a:stretch/>
        </p:blipFill>
        <p:spPr bwMode="auto">
          <a:xfrm>
            <a:off x="134326" y="1564001"/>
            <a:ext cx="493962" cy="280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10" descr="Mitsubishi">
            <a:extLst>
              <a:ext uri="{FF2B5EF4-FFF2-40B4-BE49-F238E27FC236}">
                <a16:creationId xmlns:a16="http://schemas.microsoft.com/office/drawing/2014/main" id="{60D1BC16-E4B8-4F75-96D1-479156AB57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42" t="13632" r="14904" b="11949"/>
          <a:stretch/>
        </p:blipFill>
        <p:spPr bwMode="auto">
          <a:xfrm>
            <a:off x="597544" y="1646565"/>
            <a:ext cx="330140" cy="351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12 - 1" descr="Skoda">
            <a:extLst>
              <a:ext uri="{FF2B5EF4-FFF2-40B4-BE49-F238E27FC236}">
                <a16:creationId xmlns:a16="http://schemas.microsoft.com/office/drawing/2014/main" id="{A530EEC8-AFA8-43F5-88E3-FD1C87F2C3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73" t="12792" r="14403"/>
          <a:stretch/>
        </p:blipFill>
        <p:spPr bwMode="auto">
          <a:xfrm>
            <a:off x="480125" y="2000379"/>
            <a:ext cx="402133" cy="491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14" descr="Volkswagen">
            <a:extLst>
              <a:ext uri="{FF2B5EF4-FFF2-40B4-BE49-F238E27FC236}">
                <a16:creationId xmlns:a16="http://schemas.microsoft.com/office/drawing/2014/main" id="{E7502BC6-C0F0-4AFF-BC25-1F72ACC27C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322" y="4140908"/>
            <a:ext cx="491696" cy="491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16" descr="Dacia">
            <a:extLst>
              <a:ext uri="{FF2B5EF4-FFF2-40B4-BE49-F238E27FC236}">
                <a16:creationId xmlns:a16="http://schemas.microsoft.com/office/drawing/2014/main" id="{072C92D9-6C83-41A4-BE2C-9BC5028A2B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17" t="21965" r="18815" b="23709"/>
          <a:stretch/>
        </p:blipFill>
        <p:spPr bwMode="auto">
          <a:xfrm>
            <a:off x="97186" y="1895015"/>
            <a:ext cx="399323" cy="351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18" descr="Audi">
            <a:extLst>
              <a:ext uri="{FF2B5EF4-FFF2-40B4-BE49-F238E27FC236}">
                <a16:creationId xmlns:a16="http://schemas.microsoft.com/office/drawing/2014/main" id="{1028D900-22D6-42CB-8FE7-580584968E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16" b="30006"/>
          <a:stretch/>
        </p:blipFill>
        <p:spPr bwMode="auto">
          <a:xfrm>
            <a:off x="32963" y="889499"/>
            <a:ext cx="527105" cy="210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18F077EB-82BC-4D31-A4F1-676B79F80367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44202" t="31490" r="42912" b="23430"/>
          <a:stretch/>
        </p:blipFill>
        <p:spPr>
          <a:xfrm>
            <a:off x="93004" y="2799100"/>
            <a:ext cx="595386" cy="280969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8225993E-6CB4-42DB-AEBA-3F2A19105F92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4144" t="16531" r="80954" b="26725"/>
          <a:stretch/>
        </p:blipFill>
        <p:spPr>
          <a:xfrm>
            <a:off x="144643" y="4837114"/>
            <a:ext cx="621817" cy="351212"/>
          </a:xfrm>
          <a:prstGeom prst="rect">
            <a:avLst/>
          </a:prstGeom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654230CA-C264-4A25-91D1-2D2C225302A3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074" t="13571" r="84336" b="20576"/>
          <a:stretch/>
        </p:blipFill>
        <p:spPr>
          <a:xfrm>
            <a:off x="112598" y="3394595"/>
            <a:ext cx="385476" cy="351212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6310112A-DD50-4FD2-AD49-3C1F4A9AB246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5594" t="15965" r="4106" b="14010"/>
          <a:stretch/>
        </p:blipFill>
        <p:spPr>
          <a:xfrm>
            <a:off x="606564" y="2930249"/>
            <a:ext cx="280969" cy="351212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931354D5-E0AD-4208-BA82-9C75EDEC3525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717" t="12463" r="82555" b="21918"/>
          <a:stretch/>
        </p:blipFill>
        <p:spPr>
          <a:xfrm>
            <a:off x="545408" y="3813603"/>
            <a:ext cx="399655" cy="351212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0349A285-77A3-4CE4-A517-02DEC173813E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44195" t="21570" r="42909" b="19599"/>
          <a:stretch/>
        </p:blipFill>
        <p:spPr>
          <a:xfrm>
            <a:off x="116080" y="3771328"/>
            <a:ext cx="418751" cy="351212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AD28A3BE-7C37-468F-B70A-55C62A7C77F5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6275" t="21894" r="1316" b="4308"/>
          <a:stretch/>
        </p:blipFill>
        <p:spPr>
          <a:xfrm>
            <a:off x="659446" y="4612272"/>
            <a:ext cx="347395" cy="351212"/>
          </a:xfrm>
          <a:prstGeom prst="rect">
            <a:avLst/>
          </a:prstGeom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id="{DA10D778-660F-4ADA-B26F-1002ACE961F7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129" t="23759" r="81371" b="21695"/>
          <a:stretch/>
        </p:blipFill>
        <p:spPr>
          <a:xfrm>
            <a:off x="494920" y="3393481"/>
            <a:ext cx="511322" cy="351212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8212441D-1AAB-40EA-81BA-E15A2842E2A3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4532" t="34221" r="2593" b="35072"/>
          <a:stretch/>
        </p:blipFill>
        <p:spPr>
          <a:xfrm>
            <a:off x="151429" y="4606714"/>
            <a:ext cx="515727" cy="210727"/>
          </a:xfrm>
          <a:prstGeom prst="rect">
            <a:avLst/>
          </a:prstGeom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069BAF66-2A35-4B09-9316-92294C82BCF4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43215" t="9516" r="43633" b="12909"/>
          <a:stretch/>
        </p:blipFill>
        <p:spPr>
          <a:xfrm>
            <a:off x="93004" y="5134817"/>
            <a:ext cx="347554" cy="351212"/>
          </a:xfrm>
          <a:prstGeom prst="rect">
            <a:avLst/>
          </a:prstGeom>
        </p:spPr>
      </p:pic>
      <p:pic>
        <p:nvPicPr>
          <p:cNvPr id="98" name="Picture 4 - 1" descr="KIA">
            <a:extLst>
              <a:ext uri="{FF2B5EF4-FFF2-40B4-BE49-F238E27FC236}">
                <a16:creationId xmlns:a16="http://schemas.microsoft.com/office/drawing/2014/main" id="{144ABFF2-EB13-49E6-9E14-673D0E5A32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18" y="3046983"/>
            <a:ext cx="527621" cy="280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6 - 1" descr="Peugeot">
            <a:extLst>
              <a:ext uri="{FF2B5EF4-FFF2-40B4-BE49-F238E27FC236}">
                <a16:creationId xmlns:a16="http://schemas.microsoft.com/office/drawing/2014/main" id="{89CD8431-9F4D-4F1F-BE6C-F4B5721DAC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67" y="5792860"/>
            <a:ext cx="306877" cy="280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8 - 1" descr="Smart">
            <a:extLst>
              <a:ext uri="{FF2B5EF4-FFF2-40B4-BE49-F238E27FC236}">
                <a16:creationId xmlns:a16="http://schemas.microsoft.com/office/drawing/2014/main" id="{C4811A14-5F98-427E-9563-687D56AB0E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429" y="4148061"/>
            <a:ext cx="426219" cy="351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10 - 1" descr="Citroën">
            <a:extLst>
              <a:ext uri="{FF2B5EF4-FFF2-40B4-BE49-F238E27FC236}">
                <a16:creationId xmlns:a16="http://schemas.microsoft.com/office/drawing/2014/main" id="{AE385AA4-AEC0-4B53-B6CB-279F210C57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78" y="5522086"/>
            <a:ext cx="308356" cy="192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4 - 2" descr="Related image">
            <a:extLst>
              <a:ext uri="{FF2B5EF4-FFF2-40B4-BE49-F238E27FC236}">
                <a16:creationId xmlns:a16="http://schemas.microsoft.com/office/drawing/2014/main" id="{3E155E0E-10F3-4C3C-933C-BA7F1A6E12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63" r="22670"/>
          <a:stretch/>
        </p:blipFill>
        <p:spPr bwMode="auto">
          <a:xfrm>
            <a:off x="322577" y="5466829"/>
            <a:ext cx="382724" cy="421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8 - 2" descr="Related image">
            <a:extLst>
              <a:ext uri="{FF2B5EF4-FFF2-40B4-BE49-F238E27FC236}">
                <a16:creationId xmlns:a16="http://schemas.microsoft.com/office/drawing/2014/main" id="{CFD6FBA2-FFE0-47C3-91DD-33849FDFD9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30" r="26836"/>
          <a:stretch/>
        </p:blipFill>
        <p:spPr bwMode="auto">
          <a:xfrm>
            <a:off x="457005" y="5068887"/>
            <a:ext cx="342566" cy="491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3" name="Rectangle 122">
            <a:extLst>
              <a:ext uri="{FF2B5EF4-FFF2-40B4-BE49-F238E27FC236}">
                <a16:creationId xmlns:a16="http://schemas.microsoft.com/office/drawing/2014/main" id="{E22AC610-CA5C-485A-B0C0-590934675844}"/>
              </a:ext>
            </a:extLst>
          </p:cNvPr>
          <p:cNvSpPr/>
          <p:nvPr/>
        </p:nvSpPr>
        <p:spPr>
          <a:xfrm>
            <a:off x="5507583" y="2642895"/>
            <a:ext cx="6415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all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CAR IT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BCB227A4-B406-4ECC-9BCC-B20780E1CC2D}"/>
              </a:ext>
            </a:extLst>
          </p:cNvPr>
          <p:cNvSpPr/>
          <p:nvPr/>
        </p:nvSpPr>
        <p:spPr>
          <a:xfrm>
            <a:off x="5198755" y="3571856"/>
            <a:ext cx="84830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DRACAR+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5" name="Picture 124">
            <a:extLst>
              <a:ext uri="{FF2B5EF4-FFF2-40B4-BE49-F238E27FC236}">
                <a16:creationId xmlns:a16="http://schemas.microsoft.com/office/drawing/2014/main" id="{A641A73D-E3F9-4B59-8FAA-F68AAE9F7C8C}"/>
              </a:ext>
            </a:extLst>
          </p:cNvPr>
          <p:cNvPicPr>
            <a:picLocks noChangeAspect="1"/>
          </p:cNvPicPr>
          <p:nvPr/>
        </p:nvPicPr>
        <p:blipFill>
          <a:blip r:embed="rId2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0470" y="2094234"/>
            <a:ext cx="904680" cy="339668"/>
          </a:xfrm>
          <a:prstGeom prst="rect">
            <a:avLst/>
          </a:prstGeom>
        </p:spPr>
      </p:pic>
      <p:pic>
        <p:nvPicPr>
          <p:cNvPr id="126" name="Picture 125">
            <a:extLst>
              <a:ext uri="{FF2B5EF4-FFF2-40B4-BE49-F238E27FC236}">
                <a16:creationId xmlns:a16="http://schemas.microsoft.com/office/drawing/2014/main" id="{5406422A-A5B9-4421-BC42-02166AFA4EC5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1404" y="2516111"/>
            <a:ext cx="462149" cy="457200"/>
          </a:xfrm>
          <a:prstGeom prst="rect">
            <a:avLst/>
          </a:prstGeom>
        </p:spPr>
      </p:pic>
      <p:sp>
        <p:nvSpPr>
          <p:cNvPr id="127" name="Rectangle 126">
            <a:extLst>
              <a:ext uri="{FF2B5EF4-FFF2-40B4-BE49-F238E27FC236}">
                <a16:creationId xmlns:a16="http://schemas.microsoft.com/office/drawing/2014/main" id="{0BCD7B65-3FE6-459B-9662-E8BFA83BCAB2}"/>
              </a:ext>
            </a:extLst>
          </p:cNvPr>
          <p:cNvSpPr/>
          <p:nvPr/>
        </p:nvSpPr>
        <p:spPr>
          <a:xfrm>
            <a:off x="5443750" y="1416198"/>
            <a:ext cx="55496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all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SAVE</a:t>
            </a:r>
          </a:p>
        </p:txBody>
      </p:sp>
      <p:pic>
        <p:nvPicPr>
          <p:cNvPr id="129" name="Picture 2" descr="Image result for jato integration logo">
            <a:extLst>
              <a:ext uri="{FF2B5EF4-FFF2-40B4-BE49-F238E27FC236}">
                <a16:creationId xmlns:a16="http://schemas.microsoft.com/office/drawing/2014/main" id="{7AE9C79B-9850-435F-BC7F-68B803CEAA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3069" y="4424134"/>
            <a:ext cx="827104" cy="187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129" descr="https://www.dancik.com/dbfile.axd?name=K8.png">
            <a:extLst>
              <a:ext uri="{FF2B5EF4-FFF2-40B4-BE49-F238E27FC236}">
                <a16:creationId xmlns:a16="http://schemas.microsoft.com/office/drawing/2014/main" id="{08204825-77C7-46FD-880F-0D3ADB4B12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0563" y="2031572"/>
            <a:ext cx="368714" cy="190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Picture 130">
            <a:extLst>
              <a:ext uri="{FF2B5EF4-FFF2-40B4-BE49-F238E27FC236}">
                <a16:creationId xmlns:a16="http://schemas.microsoft.com/office/drawing/2014/main" id="{5B3C9E78-5CB8-47A8-BBA7-AD6984A446E3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5755" y="4086494"/>
            <a:ext cx="1041309" cy="237729"/>
          </a:xfrm>
          <a:prstGeom prst="rect">
            <a:avLst/>
          </a:prstGeom>
        </p:spPr>
      </p:pic>
      <p:pic>
        <p:nvPicPr>
          <p:cNvPr id="132" name="Picture 4" descr="RDW">
            <a:extLst>
              <a:ext uri="{FF2B5EF4-FFF2-40B4-BE49-F238E27FC236}">
                <a16:creationId xmlns:a16="http://schemas.microsoft.com/office/drawing/2014/main" id="{89C80A00-73B7-4349-986F-962AA2AB71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675" y="3453354"/>
            <a:ext cx="671688" cy="221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" name="Picture 30" descr="Image result for DIBS png icon">
            <a:extLst>
              <a:ext uri="{FF2B5EF4-FFF2-40B4-BE49-F238E27FC236}">
                <a16:creationId xmlns:a16="http://schemas.microsoft.com/office/drawing/2014/main" id="{C1D496D5-A1D1-4547-9C18-4D292BD579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230" b="29042"/>
          <a:stretch/>
        </p:blipFill>
        <p:spPr bwMode="auto">
          <a:xfrm>
            <a:off x="5319814" y="3182640"/>
            <a:ext cx="600762" cy="215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" name="Picture 134">
            <a:extLst>
              <a:ext uri="{FF2B5EF4-FFF2-40B4-BE49-F238E27FC236}">
                <a16:creationId xmlns:a16="http://schemas.microsoft.com/office/drawing/2014/main" id="{9902E6D6-97F7-49AA-A3D5-14D5FDF527B7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1333" y="1716884"/>
            <a:ext cx="976828" cy="256256"/>
          </a:xfrm>
          <a:prstGeom prst="rect">
            <a:avLst/>
          </a:prstGeom>
        </p:spPr>
      </p:pic>
      <p:pic>
        <p:nvPicPr>
          <p:cNvPr id="136" name="Picture 18" descr="Image result for zisson">
            <a:extLst>
              <a:ext uri="{FF2B5EF4-FFF2-40B4-BE49-F238E27FC236}">
                <a16:creationId xmlns:a16="http://schemas.microsoft.com/office/drawing/2014/main" id="{67DD52A3-320D-400F-837D-06B1C23D4E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7935" y="5672331"/>
            <a:ext cx="459365" cy="215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7" name="TextBox 136"/>
          <p:cNvSpPr txBox="1"/>
          <p:nvPr/>
        </p:nvSpPr>
        <p:spPr>
          <a:xfrm>
            <a:off x="4896030" y="3015331"/>
            <a:ext cx="7461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-entr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5090493" y="5298973"/>
            <a:ext cx="1344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erservice</a:t>
            </a:r>
          </a:p>
        </p:txBody>
      </p:sp>
      <p:sp>
        <p:nvSpPr>
          <p:cNvPr id="147" name="任意多边形 18">
            <a:extLst>
              <a:ext uri="{FF2B5EF4-FFF2-40B4-BE49-F238E27FC236}">
                <a16:creationId xmlns:a16="http://schemas.microsoft.com/office/drawing/2014/main" id="{9680A82D-4FAA-4DD0-BAB9-3ECA1382954F}"/>
              </a:ext>
            </a:extLst>
          </p:cNvPr>
          <p:cNvSpPr/>
          <p:nvPr/>
        </p:nvSpPr>
        <p:spPr>
          <a:xfrm>
            <a:off x="6268" y="6240780"/>
            <a:ext cx="1944000" cy="548640"/>
          </a:xfrm>
          <a:custGeom>
            <a:avLst/>
            <a:gdLst>
              <a:gd name="connsiteX0" fmla="*/ 0 w 2403000"/>
              <a:gd name="connsiteY0" fmla="*/ 0 h 468000"/>
              <a:gd name="connsiteX1" fmla="*/ 2403000 w 2403000"/>
              <a:gd name="connsiteY1" fmla="*/ 0 h 468000"/>
              <a:gd name="connsiteX2" fmla="*/ 2403000 w 2403000"/>
              <a:gd name="connsiteY2" fmla="*/ 468000 h 468000"/>
              <a:gd name="connsiteX3" fmla="*/ 0 w 2403000"/>
              <a:gd name="connsiteY3" fmla="*/ 468000 h 468000"/>
              <a:gd name="connsiteX4" fmla="*/ 0 w 2403000"/>
              <a:gd name="connsiteY4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3000" h="468000">
                <a:moveTo>
                  <a:pt x="0" y="0"/>
                </a:moveTo>
                <a:lnTo>
                  <a:pt x="2403000" y="0"/>
                </a:lnTo>
                <a:lnTo>
                  <a:pt x="2403000" y="468000"/>
                </a:lnTo>
                <a:lnTo>
                  <a:pt x="0" y="46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0" cap="none" spc="3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 Semibold" panose="020B0702040204020203" pitchFamily="34" charset="0"/>
                <a:ea typeface="微软雅黑"/>
                <a:cs typeface="Segoe UI Semibold" panose="020B0702040204020203" pitchFamily="34" charset="0"/>
              </a:rPr>
              <a:t>Paperless Dealership</a:t>
            </a:r>
            <a:endParaRPr kumimoji="0" lang="zh-CN" altLang="en-US" sz="1100" b="1" i="0" u="none" strike="noStrike" kern="0" cap="none" spc="3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 Semibold" panose="020B0702040204020203" pitchFamily="34" charset="0"/>
              <a:ea typeface="微软雅黑"/>
              <a:cs typeface="Segoe UI Semibold" panose="020B0702040204020203" pitchFamily="34" charset="0"/>
            </a:endParaRPr>
          </a:p>
        </p:txBody>
      </p:sp>
      <p:sp>
        <p:nvSpPr>
          <p:cNvPr id="148" name="任意多边形 19">
            <a:extLst>
              <a:ext uri="{FF2B5EF4-FFF2-40B4-BE49-F238E27FC236}">
                <a16:creationId xmlns:a16="http://schemas.microsoft.com/office/drawing/2014/main" id="{D6927B95-39D4-4AA7-A002-23375DB97852}"/>
              </a:ext>
            </a:extLst>
          </p:cNvPr>
          <p:cNvSpPr/>
          <p:nvPr/>
        </p:nvSpPr>
        <p:spPr>
          <a:xfrm>
            <a:off x="2005625" y="6240780"/>
            <a:ext cx="1944000" cy="548640"/>
          </a:xfrm>
          <a:custGeom>
            <a:avLst/>
            <a:gdLst>
              <a:gd name="connsiteX0" fmla="*/ 0 w 2403000"/>
              <a:gd name="connsiteY0" fmla="*/ 0 h 468000"/>
              <a:gd name="connsiteX1" fmla="*/ 2403000 w 2403000"/>
              <a:gd name="connsiteY1" fmla="*/ 0 h 468000"/>
              <a:gd name="connsiteX2" fmla="*/ 2403000 w 2403000"/>
              <a:gd name="connsiteY2" fmla="*/ 468000 h 468000"/>
              <a:gd name="connsiteX3" fmla="*/ 0 w 2403000"/>
              <a:gd name="connsiteY3" fmla="*/ 468000 h 468000"/>
              <a:gd name="connsiteX4" fmla="*/ 0 w 2403000"/>
              <a:gd name="connsiteY4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3000" h="468000">
                <a:moveTo>
                  <a:pt x="0" y="0"/>
                </a:moveTo>
                <a:lnTo>
                  <a:pt x="2403000" y="0"/>
                </a:lnTo>
                <a:lnTo>
                  <a:pt x="2403000" y="468000"/>
                </a:lnTo>
                <a:lnTo>
                  <a:pt x="0" y="46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0" cap="none" spc="3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 Semibold" panose="020B0702040204020203" pitchFamily="34" charset="0"/>
                <a:ea typeface="微软雅黑"/>
                <a:cs typeface="Segoe UI Semibold" panose="020B0702040204020203" pitchFamily="34" charset="0"/>
              </a:rPr>
              <a:t>100% Digital Dealership</a:t>
            </a:r>
            <a:endParaRPr kumimoji="0" lang="zh-CN" altLang="en-US" sz="1100" b="1" i="0" u="none" strike="noStrike" kern="0" cap="none" spc="3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 Semibold" panose="020B0702040204020203" pitchFamily="34" charset="0"/>
              <a:ea typeface="微软雅黑"/>
              <a:cs typeface="Segoe UI Semibold" panose="020B0702040204020203" pitchFamily="34" charset="0"/>
            </a:endParaRPr>
          </a:p>
        </p:txBody>
      </p:sp>
      <p:sp>
        <p:nvSpPr>
          <p:cNvPr id="149" name="任意多边形 19 - 1">
            <a:extLst>
              <a:ext uri="{FF2B5EF4-FFF2-40B4-BE49-F238E27FC236}">
                <a16:creationId xmlns:a16="http://schemas.microsoft.com/office/drawing/2014/main" id="{A71485A8-5321-4D78-A80E-642BAA783563}"/>
              </a:ext>
            </a:extLst>
          </p:cNvPr>
          <p:cNvSpPr/>
          <p:nvPr/>
        </p:nvSpPr>
        <p:spPr>
          <a:xfrm>
            <a:off x="4004982" y="6240780"/>
            <a:ext cx="1944000" cy="548640"/>
          </a:xfrm>
          <a:custGeom>
            <a:avLst/>
            <a:gdLst>
              <a:gd name="connsiteX0" fmla="*/ 0 w 2403000"/>
              <a:gd name="connsiteY0" fmla="*/ 0 h 468000"/>
              <a:gd name="connsiteX1" fmla="*/ 2403000 w 2403000"/>
              <a:gd name="connsiteY1" fmla="*/ 0 h 468000"/>
              <a:gd name="connsiteX2" fmla="*/ 2403000 w 2403000"/>
              <a:gd name="connsiteY2" fmla="*/ 468000 h 468000"/>
              <a:gd name="connsiteX3" fmla="*/ 0 w 2403000"/>
              <a:gd name="connsiteY3" fmla="*/ 468000 h 468000"/>
              <a:gd name="connsiteX4" fmla="*/ 0 w 2403000"/>
              <a:gd name="connsiteY4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3000" h="468000">
                <a:moveTo>
                  <a:pt x="0" y="0"/>
                </a:moveTo>
                <a:lnTo>
                  <a:pt x="2403000" y="0"/>
                </a:lnTo>
                <a:lnTo>
                  <a:pt x="2403000" y="468000"/>
                </a:lnTo>
                <a:lnTo>
                  <a:pt x="0" y="46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0" cap="none" spc="3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 Semibold" panose="020B0702040204020203" pitchFamily="34" charset="0"/>
                <a:ea typeface="微软雅黑"/>
                <a:cs typeface="Segoe UI Semibold" panose="020B0702040204020203" pitchFamily="34" charset="0"/>
              </a:rPr>
              <a:t>Maximum Automated Dealerships</a:t>
            </a:r>
          </a:p>
        </p:txBody>
      </p:sp>
      <p:pic>
        <p:nvPicPr>
          <p:cNvPr id="162" name="Picture 161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217322" y="2250522"/>
            <a:ext cx="3501264" cy="3077856"/>
          </a:xfrm>
          <a:prstGeom prst="rect">
            <a:avLst/>
          </a:prstGeom>
        </p:spPr>
      </p:pic>
      <p:pic>
        <p:nvPicPr>
          <p:cNvPr id="190" name="Picture 189">
            <a:extLst>
              <a:ext uri="{FF2B5EF4-FFF2-40B4-BE49-F238E27FC236}">
                <a16:creationId xmlns:a16="http://schemas.microsoft.com/office/drawing/2014/main" id="{6C7257D2-2414-4643-B878-B0326A628F57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1289294" y="1482884"/>
            <a:ext cx="351502" cy="234334"/>
          </a:xfrm>
          <a:prstGeom prst="rect">
            <a:avLst/>
          </a:prstGeom>
        </p:spPr>
      </p:pic>
      <p:pic>
        <p:nvPicPr>
          <p:cNvPr id="186" name="Picture 4" descr="Image result for norway flag">
            <a:extLst>
              <a:ext uri="{FF2B5EF4-FFF2-40B4-BE49-F238E27FC236}">
                <a16:creationId xmlns:a16="http://schemas.microsoft.com/office/drawing/2014/main" id="{D21D3068-171B-4CC5-AAC3-A3C7274D48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1502" y="1483218"/>
            <a:ext cx="321642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5" name="Picture 6" descr="Image result for germany flag">
            <a:extLst>
              <a:ext uri="{FF2B5EF4-FFF2-40B4-BE49-F238E27FC236}">
                <a16:creationId xmlns:a16="http://schemas.microsoft.com/office/drawing/2014/main" id="{6DBA310D-27D3-4F14-AC9D-B338DF1684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3850" y="1483218"/>
            <a:ext cx="39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3" name="Picture 8" descr="Image result for france flag">
            <a:extLst>
              <a:ext uri="{FF2B5EF4-FFF2-40B4-BE49-F238E27FC236}">
                <a16:creationId xmlns:a16="http://schemas.microsoft.com/office/drawing/2014/main" id="{3A0AAF0A-BA51-4862-A1E8-A8375EE2EF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4556" y="1483218"/>
            <a:ext cx="351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9" name="Rectangle 168">
            <a:extLst>
              <a:ext uri="{FF2B5EF4-FFF2-40B4-BE49-F238E27FC236}">
                <a16:creationId xmlns:a16="http://schemas.microsoft.com/office/drawing/2014/main" id="{08A4E426-3F8B-4B4C-91DA-54536B97051D}"/>
              </a:ext>
            </a:extLst>
          </p:cNvPr>
          <p:cNvSpPr/>
          <p:nvPr/>
        </p:nvSpPr>
        <p:spPr>
          <a:xfrm>
            <a:off x="5365743" y="2095071"/>
            <a:ext cx="747195" cy="264936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elgium</a:t>
            </a:r>
          </a:p>
        </p:txBody>
      </p:sp>
      <p:pic>
        <p:nvPicPr>
          <p:cNvPr id="181" name="Picture 12" descr="Image result for finland flag">
            <a:extLst>
              <a:ext uri="{FF2B5EF4-FFF2-40B4-BE49-F238E27FC236}">
                <a16:creationId xmlns:a16="http://schemas.microsoft.com/office/drawing/2014/main" id="{88ED6A0C-B630-48D5-AEF6-A3C34EA10C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6262" y="1483218"/>
            <a:ext cx="382958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" name="Picture 177">
            <a:extLst>
              <a:ext uri="{FF2B5EF4-FFF2-40B4-BE49-F238E27FC236}">
                <a16:creationId xmlns:a16="http://schemas.microsoft.com/office/drawing/2014/main" id="{7ABFC80B-DD26-4562-B1C1-8A70AA272663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3539926" y="1483218"/>
            <a:ext cx="374400" cy="234000"/>
          </a:xfrm>
          <a:prstGeom prst="rect">
            <a:avLst/>
          </a:prstGeom>
        </p:spPr>
      </p:pic>
      <p:pic>
        <p:nvPicPr>
          <p:cNvPr id="176" name="Picture 18" descr="Image result for iceland flag">
            <a:extLst>
              <a:ext uri="{FF2B5EF4-FFF2-40B4-BE49-F238E27FC236}">
                <a16:creationId xmlns:a16="http://schemas.microsoft.com/office/drawing/2014/main" id="{334F17E5-4861-4088-8875-9D7E4E1F9B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5032" y="1483218"/>
            <a:ext cx="325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" name="Picture 20" descr="Image result for denmark flag png">
            <a:extLst>
              <a:ext uri="{FF2B5EF4-FFF2-40B4-BE49-F238E27FC236}">
                <a16:creationId xmlns:a16="http://schemas.microsoft.com/office/drawing/2014/main" id="{58054ED5-1DC5-4D3E-8F24-76BA41AF88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0738" y="1483218"/>
            <a:ext cx="310964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" name="Picture 193">
            <a:extLst>
              <a:ext uri="{FF2B5EF4-FFF2-40B4-BE49-F238E27FC236}">
                <a16:creationId xmlns:a16="http://schemas.microsoft.com/office/drawing/2014/main" id="{6C7257D2-2414-4643-B878-B0326A628F57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7305002" y="1482884"/>
            <a:ext cx="351502" cy="234334"/>
          </a:xfrm>
          <a:prstGeom prst="rect">
            <a:avLst/>
          </a:prstGeom>
        </p:spPr>
      </p:pic>
      <p:pic>
        <p:nvPicPr>
          <p:cNvPr id="195" name="Picture 4" descr="Image result for norway flag">
            <a:extLst>
              <a:ext uri="{FF2B5EF4-FFF2-40B4-BE49-F238E27FC236}">
                <a16:creationId xmlns:a16="http://schemas.microsoft.com/office/drawing/2014/main" id="{D21D3068-171B-4CC5-AAC3-A3C7274D48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9188" y="1483218"/>
            <a:ext cx="321642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6" name="Picture 6" descr="Image result for germany flag">
            <a:extLst>
              <a:ext uri="{FF2B5EF4-FFF2-40B4-BE49-F238E27FC236}">
                <a16:creationId xmlns:a16="http://schemas.microsoft.com/office/drawing/2014/main" id="{6DBA310D-27D3-4F14-AC9D-B338DF1684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3514" y="1483218"/>
            <a:ext cx="39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7" name="Picture 8" descr="Image result for france flag">
            <a:extLst>
              <a:ext uri="{FF2B5EF4-FFF2-40B4-BE49-F238E27FC236}">
                <a16:creationId xmlns:a16="http://schemas.microsoft.com/office/drawing/2014/main" id="{3A0AAF0A-BA51-4862-A1E8-A8375EE2EF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6198" y="1483218"/>
            <a:ext cx="351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8" name="Picture 12" descr="Image result for finland flag">
            <a:extLst>
              <a:ext uri="{FF2B5EF4-FFF2-40B4-BE49-F238E27FC236}">
                <a16:creationId xmlns:a16="http://schemas.microsoft.com/office/drawing/2014/main" id="{88ED6A0C-B630-48D5-AEF6-A3C34EA10C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9882" y="1483218"/>
            <a:ext cx="382958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9" name="Picture 198">
            <a:extLst>
              <a:ext uri="{FF2B5EF4-FFF2-40B4-BE49-F238E27FC236}">
                <a16:creationId xmlns:a16="http://schemas.microsoft.com/office/drawing/2014/main" id="{7ABFC80B-DD26-4562-B1C1-8A70AA272663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9565524" y="1483218"/>
            <a:ext cx="374400" cy="234000"/>
          </a:xfrm>
          <a:prstGeom prst="rect">
            <a:avLst/>
          </a:prstGeom>
        </p:spPr>
      </p:pic>
      <p:pic>
        <p:nvPicPr>
          <p:cNvPr id="200" name="Picture 18" descr="Image result for iceland flag">
            <a:extLst>
              <a:ext uri="{FF2B5EF4-FFF2-40B4-BE49-F238E27FC236}">
                <a16:creationId xmlns:a16="http://schemas.microsoft.com/office/drawing/2014/main" id="{334F17E5-4861-4088-8875-9D7E4E1F9B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2608" y="1483218"/>
            <a:ext cx="325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1" name="Picture 20" descr="Image result for denmark flag png">
            <a:extLst>
              <a:ext uri="{FF2B5EF4-FFF2-40B4-BE49-F238E27FC236}">
                <a16:creationId xmlns:a16="http://schemas.microsoft.com/office/drawing/2014/main" id="{58054ED5-1DC5-4D3E-8F24-76BA41AF88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0292" y="1483218"/>
            <a:ext cx="310964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2" name="Picture 2" descr="Image result for Netherlands flag">
            <a:extLst>
              <a:ext uri="{FF2B5EF4-FFF2-40B4-BE49-F238E27FC236}">
                <a16:creationId xmlns:a16="http://schemas.microsoft.com/office/drawing/2014/main" id="{AEB514E9-82BF-491F-9A06-146CB4A489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3940" y="1483218"/>
            <a:ext cx="39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127" descr="Image result for BISNODE api  logo png">
            <a:extLst>
              <a:ext uri="{FF2B5EF4-FFF2-40B4-BE49-F238E27FC236}">
                <a16:creationId xmlns:a16="http://schemas.microsoft.com/office/drawing/2014/main" id="{BC25CDB5-3456-4D88-92D6-48B3317D0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4222" y="910435"/>
            <a:ext cx="695491" cy="27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" name="Rectangle 132">
            <a:extLst>
              <a:ext uri="{FF2B5EF4-FFF2-40B4-BE49-F238E27FC236}">
                <a16:creationId xmlns:a16="http://schemas.microsoft.com/office/drawing/2014/main" id="{D7DABB14-5B27-4934-A7B7-9A025F66724C}"/>
              </a:ext>
            </a:extLst>
          </p:cNvPr>
          <p:cNvSpPr/>
          <p:nvPr/>
        </p:nvSpPr>
        <p:spPr>
          <a:xfrm>
            <a:off x="5172839" y="1279133"/>
            <a:ext cx="4651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EVA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6" name="任意多边形 18">
            <a:extLst>
              <a:ext uri="{FF2B5EF4-FFF2-40B4-BE49-F238E27FC236}">
                <a16:creationId xmlns:a16="http://schemas.microsoft.com/office/drawing/2014/main" id="{9680A82D-4FAA-4DD0-BAB9-3ECA1382954F}"/>
              </a:ext>
            </a:extLst>
          </p:cNvPr>
          <p:cNvSpPr/>
          <p:nvPr/>
        </p:nvSpPr>
        <p:spPr>
          <a:xfrm>
            <a:off x="6164157" y="6240780"/>
            <a:ext cx="1944000" cy="548640"/>
          </a:xfrm>
          <a:custGeom>
            <a:avLst/>
            <a:gdLst>
              <a:gd name="connsiteX0" fmla="*/ 0 w 2403000"/>
              <a:gd name="connsiteY0" fmla="*/ 0 h 468000"/>
              <a:gd name="connsiteX1" fmla="*/ 2403000 w 2403000"/>
              <a:gd name="connsiteY1" fmla="*/ 0 h 468000"/>
              <a:gd name="connsiteX2" fmla="*/ 2403000 w 2403000"/>
              <a:gd name="connsiteY2" fmla="*/ 468000 h 468000"/>
              <a:gd name="connsiteX3" fmla="*/ 0 w 2403000"/>
              <a:gd name="connsiteY3" fmla="*/ 468000 h 468000"/>
              <a:gd name="connsiteX4" fmla="*/ 0 w 2403000"/>
              <a:gd name="connsiteY4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3000" h="468000">
                <a:moveTo>
                  <a:pt x="0" y="0"/>
                </a:moveTo>
                <a:lnTo>
                  <a:pt x="2403000" y="0"/>
                </a:lnTo>
                <a:lnTo>
                  <a:pt x="2403000" y="468000"/>
                </a:lnTo>
                <a:lnTo>
                  <a:pt x="0" y="46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0" cap="none" spc="3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 Semibold" panose="020B0702040204020203" pitchFamily="34" charset="0"/>
                <a:ea typeface="微软雅黑"/>
                <a:cs typeface="Segoe UI Semibold" panose="020B0702040204020203" pitchFamily="34" charset="0"/>
              </a:rPr>
              <a:t>100 %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0" cap="none" spc="3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 Semibold" panose="020B0702040204020203" pitchFamily="34" charset="0"/>
                <a:ea typeface="微软雅黑"/>
                <a:cs typeface="Segoe UI Semibold" panose="020B0702040204020203" pitchFamily="34" charset="0"/>
              </a:rPr>
              <a:t>Online &amp; Digit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0" cap="none" spc="3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 Semibold" panose="020B0702040204020203" pitchFamily="34" charset="0"/>
                <a:ea typeface="微软雅黑"/>
                <a:cs typeface="Segoe UI Semibold" panose="020B0702040204020203" pitchFamily="34" charset="0"/>
              </a:rPr>
              <a:t> Leasing Process</a:t>
            </a:r>
            <a:endParaRPr kumimoji="0" lang="zh-CN" altLang="en-US" sz="1100" b="1" i="0" u="none" strike="noStrike" kern="0" cap="none" spc="3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 Semibold" panose="020B0702040204020203" pitchFamily="34" charset="0"/>
              <a:ea typeface="微软雅黑"/>
              <a:cs typeface="Segoe UI Semibold" panose="020B0702040204020203" pitchFamily="34" charset="0"/>
            </a:endParaRPr>
          </a:p>
        </p:txBody>
      </p:sp>
      <p:sp>
        <p:nvSpPr>
          <p:cNvPr id="207" name="任意多边形 19">
            <a:extLst>
              <a:ext uri="{FF2B5EF4-FFF2-40B4-BE49-F238E27FC236}">
                <a16:creationId xmlns:a16="http://schemas.microsoft.com/office/drawing/2014/main" id="{D6927B95-39D4-4AA7-A002-23375DB97852}"/>
              </a:ext>
            </a:extLst>
          </p:cNvPr>
          <p:cNvSpPr/>
          <p:nvPr/>
        </p:nvSpPr>
        <p:spPr>
          <a:xfrm>
            <a:off x="8163514" y="6240780"/>
            <a:ext cx="1944000" cy="548640"/>
          </a:xfrm>
          <a:custGeom>
            <a:avLst/>
            <a:gdLst>
              <a:gd name="connsiteX0" fmla="*/ 0 w 2403000"/>
              <a:gd name="connsiteY0" fmla="*/ 0 h 468000"/>
              <a:gd name="connsiteX1" fmla="*/ 2403000 w 2403000"/>
              <a:gd name="connsiteY1" fmla="*/ 0 h 468000"/>
              <a:gd name="connsiteX2" fmla="*/ 2403000 w 2403000"/>
              <a:gd name="connsiteY2" fmla="*/ 468000 h 468000"/>
              <a:gd name="connsiteX3" fmla="*/ 0 w 2403000"/>
              <a:gd name="connsiteY3" fmla="*/ 468000 h 468000"/>
              <a:gd name="connsiteX4" fmla="*/ 0 w 2403000"/>
              <a:gd name="connsiteY4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3000" h="468000">
                <a:moveTo>
                  <a:pt x="0" y="0"/>
                </a:moveTo>
                <a:lnTo>
                  <a:pt x="2403000" y="0"/>
                </a:lnTo>
                <a:lnTo>
                  <a:pt x="2403000" y="468000"/>
                </a:lnTo>
                <a:lnTo>
                  <a:pt x="0" y="46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0" cap="none" spc="3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 Semibold" panose="020B0702040204020203" pitchFamily="34" charset="0"/>
                <a:ea typeface="微软雅黑"/>
                <a:cs typeface="Segoe UI Semibold" panose="020B0702040204020203" pitchFamily="34" charset="0"/>
              </a:rPr>
              <a:t>Support Partner Ecosystem</a:t>
            </a:r>
            <a:endParaRPr kumimoji="0" lang="zh-CN" altLang="en-US" sz="1100" b="1" i="0" u="none" strike="noStrike" kern="0" cap="none" spc="3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 Semibold" panose="020B0702040204020203" pitchFamily="34" charset="0"/>
              <a:ea typeface="微软雅黑"/>
              <a:cs typeface="Segoe UI Semibold" panose="020B0702040204020203" pitchFamily="34" charset="0"/>
            </a:endParaRPr>
          </a:p>
        </p:txBody>
      </p:sp>
      <p:sp>
        <p:nvSpPr>
          <p:cNvPr id="208" name="任意多边形 19 - 1">
            <a:extLst>
              <a:ext uri="{FF2B5EF4-FFF2-40B4-BE49-F238E27FC236}">
                <a16:creationId xmlns:a16="http://schemas.microsoft.com/office/drawing/2014/main" id="{A71485A8-5321-4D78-A80E-642BAA783563}"/>
              </a:ext>
            </a:extLst>
          </p:cNvPr>
          <p:cNvSpPr/>
          <p:nvPr/>
        </p:nvSpPr>
        <p:spPr>
          <a:xfrm>
            <a:off x="10162871" y="6240780"/>
            <a:ext cx="1944000" cy="548640"/>
          </a:xfrm>
          <a:custGeom>
            <a:avLst/>
            <a:gdLst>
              <a:gd name="connsiteX0" fmla="*/ 0 w 2403000"/>
              <a:gd name="connsiteY0" fmla="*/ 0 h 468000"/>
              <a:gd name="connsiteX1" fmla="*/ 2403000 w 2403000"/>
              <a:gd name="connsiteY1" fmla="*/ 0 h 468000"/>
              <a:gd name="connsiteX2" fmla="*/ 2403000 w 2403000"/>
              <a:gd name="connsiteY2" fmla="*/ 468000 h 468000"/>
              <a:gd name="connsiteX3" fmla="*/ 0 w 2403000"/>
              <a:gd name="connsiteY3" fmla="*/ 468000 h 468000"/>
              <a:gd name="connsiteX4" fmla="*/ 0 w 2403000"/>
              <a:gd name="connsiteY4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3000" h="468000">
                <a:moveTo>
                  <a:pt x="0" y="0"/>
                </a:moveTo>
                <a:lnTo>
                  <a:pt x="2403000" y="0"/>
                </a:lnTo>
                <a:lnTo>
                  <a:pt x="2403000" y="468000"/>
                </a:lnTo>
                <a:lnTo>
                  <a:pt x="0" y="46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0" cap="none" spc="3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 Semibold" panose="020B0702040204020203" pitchFamily="34" charset="0"/>
                <a:ea typeface="微软雅黑"/>
                <a:cs typeface="Segoe UI Semibold" panose="020B0702040204020203" pitchFamily="34" charset="0"/>
              </a:rPr>
              <a:t>Shortest lease Conversion Cycle</a:t>
            </a:r>
          </a:p>
        </p:txBody>
      </p:sp>
      <p:sp>
        <p:nvSpPr>
          <p:cNvPr id="210" name="Rounded Rectangle 209"/>
          <p:cNvSpPr/>
          <p:nvPr/>
        </p:nvSpPr>
        <p:spPr>
          <a:xfrm>
            <a:off x="6547217" y="4974068"/>
            <a:ext cx="5068349" cy="958755"/>
          </a:xfrm>
          <a:prstGeom prst="roundRect">
            <a:avLst>
              <a:gd name="adj" fmla="val 10706"/>
            </a:avLst>
          </a:prstGeom>
          <a:solidFill>
            <a:srgbClr val="F3F3F3"/>
          </a:solidFill>
          <a:ln w="12700" cap="flat" cmpd="sng" algn="ctr">
            <a:noFill/>
            <a:prstDash val="solid"/>
            <a:miter lim="800000"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30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 Semibold" panose="020B0702040204020203" pitchFamily="34" charset="0"/>
              <a:ea typeface="微软雅黑"/>
              <a:cs typeface="Segoe UI Semibold" panose="020B0702040204020203" pitchFamily="34" charset="0"/>
            </a:endParaRPr>
          </a:p>
        </p:txBody>
      </p:sp>
      <p:pic>
        <p:nvPicPr>
          <p:cNvPr id="213" name="Picture 212"/>
          <p:cNvPicPr>
            <a:picLocks noChangeAspect="1"/>
          </p:cNvPicPr>
          <p:nvPr/>
        </p:nvPicPr>
        <p:blipFill rotWithShape="1">
          <a:blip r:embed="rId4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1847" b="32842"/>
          <a:stretch/>
        </p:blipFill>
        <p:spPr>
          <a:xfrm>
            <a:off x="6726472" y="5143261"/>
            <a:ext cx="819370" cy="289322"/>
          </a:xfrm>
          <a:prstGeom prst="rect">
            <a:avLst/>
          </a:prstGeom>
        </p:spPr>
      </p:pic>
      <p:pic>
        <p:nvPicPr>
          <p:cNvPr id="214" name="Picture 213"/>
          <p:cNvPicPr>
            <a:picLocks noChangeAspect="1"/>
          </p:cNvPicPr>
          <p:nvPr/>
        </p:nvPicPr>
        <p:blipFill>
          <a:blip r:embed="rId4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150078" y="5362000"/>
            <a:ext cx="644632" cy="307440"/>
          </a:xfrm>
          <a:prstGeom prst="rect">
            <a:avLst/>
          </a:prstGeom>
        </p:spPr>
      </p:pic>
      <p:pic>
        <p:nvPicPr>
          <p:cNvPr id="215" name="Picture 214"/>
          <p:cNvPicPr>
            <a:picLocks noChangeAspect="1"/>
          </p:cNvPicPr>
          <p:nvPr/>
        </p:nvPicPr>
        <p:blipFill>
          <a:blip r:embed="rId4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466" y="5295668"/>
            <a:ext cx="1132350" cy="184422"/>
          </a:xfrm>
          <a:prstGeom prst="rect">
            <a:avLst/>
          </a:prstGeom>
        </p:spPr>
      </p:pic>
      <p:pic>
        <p:nvPicPr>
          <p:cNvPr id="216" name="Picture 215"/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7807403" y="5515720"/>
            <a:ext cx="549870" cy="352258"/>
          </a:xfrm>
          <a:prstGeom prst="rect">
            <a:avLst/>
          </a:prstGeom>
        </p:spPr>
      </p:pic>
      <p:pic>
        <p:nvPicPr>
          <p:cNvPr id="1028" name="Picture 4" descr="Image result for miles sofico logo"/>
          <p:cNvPicPr>
            <a:picLocks noChangeAspect="1" noChangeArrowheads="1"/>
          </p:cNvPicPr>
          <p:nvPr/>
        </p:nvPicPr>
        <p:blipFill rotWithShape="1">
          <a:blip r:embed="rId4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98" t="14922" r="28908" b="16373"/>
          <a:stretch/>
        </p:blipFill>
        <p:spPr bwMode="auto">
          <a:xfrm>
            <a:off x="8556546" y="5422478"/>
            <a:ext cx="558294" cy="434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" name="Rectangle 102">
            <a:extLst>
              <a:ext uri="{FF2B5EF4-FFF2-40B4-BE49-F238E27FC236}">
                <a16:creationId xmlns:a16="http://schemas.microsoft.com/office/drawing/2014/main" id="{4655FDEE-2492-4F17-A92A-5C242C002032}"/>
              </a:ext>
            </a:extLst>
          </p:cNvPr>
          <p:cNvSpPr/>
          <p:nvPr/>
        </p:nvSpPr>
        <p:spPr>
          <a:xfrm>
            <a:off x="7496539" y="1923199"/>
            <a:ext cx="305340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leet Lease Rental | Customer App &amp; Portal | Car Rental | Leasing Portal – Private &amp; Captives | Fleet Check | Mgmt. Platform | car Sharing | Lead To Order| PLOS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010000" y="3327952"/>
            <a:ext cx="2096871" cy="12003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leet Management Portal | Vehicle Inventory Manager | Planner Solutions| Repair Solutions | Full Service Leasing Platform | Tracking &amp; Monitoring Solutions 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6125891" y="3306174"/>
            <a:ext cx="1995868" cy="138499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RM | Data Warehousing &amp; Analytics| Remarketing Portals | Dynamic Pricing Engine | Check-In Check-Out Portal | Customer Service Platform| Call Center Support Solution 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2052" name="Picture 4" descr="Image result for flipse  logo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7010" y="5079049"/>
            <a:ext cx="698098" cy="297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mage result for power BI logo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8863" y="5617083"/>
            <a:ext cx="523534" cy="266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Image result for MS dynamics logo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7808" y="5122510"/>
            <a:ext cx="663960" cy="375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2" descr="Image result for jato integration logo">
            <a:extLst>
              <a:ext uri="{FF2B5EF4-FFF2-40B4-BE49-F238E27FC236}">
                <a16:creationId xmlns:a16="http://schemas.microsoft.com/office/drawing/2014/main" id="{D3647C42-5C8C-4B29-BA52-B487287638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3265" y="5515774"/>
            <a:ext cx="674144" cy="152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7"/>
          <p:cNvPicPr>
            <a:picLocks noChangeAspect="1"/>
          </p:cNvPicPr>
          <p:nvPr/>
        </p:nvPicPr>
        <p:blipFill rotWithShape="1"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32" t="19450" r="10245" b="16553"/>
          <a:stretch/>
        </p:blipFill>
        <p:spPr>
          <a:xfrm>
            <a:off x="6785355" y="5701399"/>
            <a:ext cx="717542" cy="186884"/>
          </a:xfrm>
          <a:prstGeom prst="rect">
            <a:avLst/>
          </a:prstGeom>
        </p:spPr>
      </p:pic>
      <p:pic>
        <p:nvPicPr>
          <p:cNvPr id="109" name="Picture 108">
            <a:extLst>
              <a:ext uri="{FF2B5EF4-FFF2-40B4-BE49-F238E27FC236}">
                <a16:creationId xmlns:a16="http://schemas.microsoft.com/office/drawing/2014/main" id="{609AD9D2-56A9-49CC-A17A-02A825938ECF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9522" y="5070539"/>
            <a:ext cx="834666" cy="214018"/>
          </a:xfrm>
          <a:prstGeom prst="rect">
            <a:avLst/>
          </a:prstGeom>
        </p:spPr>
      </p:pic>
      <p:pic>
        <p:nvPicPr>
          <p:cNvPr id="2058" name="Picture 10" descr="Image result for SAP logo"/>
          <p:cNvPicPr>
            <a:picLocks noChangeAspect="1" noChangeArrowheads="1"/>
          </p:cNvPicPr>
          <p:nvPr/>
        </p:nvPicPr>
        <p:blipFill rotWithShape="1"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616" b="25077"/>
          <a:stretch/>
        </p:blipFill>
        <p:spPr bwMode="auto">
          <a:xfrm>
            <a:off x="9116952" y="5459012"/>
            <a:ext cx="628418" cy="316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Image result for EDR credit check logo"/>
          <p:cNvPicPr>
            <a:picLocks noChangeAspect="1" noChangeArrowheads="1"/>
          </p:cNvPicPr>
          <p:nvPr/>
        </p:nvPicPr>
        <p:blipFill rotWithShape="1"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73" t="30659" r="15155" b="28920"/>
          <a:stretch/>
        </p:blipFill>
        <p:spPr bwMode="auto">
          <a:xfrm>
            <a:off x="10911447" y="5520001"/>
            <a:ext cx="552540" cy="325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Image result for ROB net leasing company nl logo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8316" y="5164922"/>
            <a:ext cx="311248" cy="213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6" name="Flowchart: Terminator 145">
            <a:extLst>
              <a:ext uri="{FF2B5EF4-FFF2-40B4-BE49-F238E27FC236}">
                <a16:creationId xmlns:a16="http://schemas.microsoft.com/office/drawing/2014/main" id="{F0D8D8FC-182C-45A1-8975-8541A80CF9B7}"/>
              </a:ext>
            </a:extLst>
          </p:cNvPr>
          <p:cNvSpPr/>
          <p:nvPr/>
        </p:nvSpPr>
        <p:spPr>
          <a:xfrm>
            <a:off x="1085657" y="720542"/>
            <a:ext cx="3474720" cy="548640"/>
          </a:xfrm>
          <a:prstGeom prst="flowChartTerminator">
            <a:avLst/>
          </a:prstGeom>
          <a:noFill/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orking with </a:t>
            </a: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0+ 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ALER | IMPORTER GROUPS</a:t>
            </a:r>
          </a:p>
        </p:txBody>
      </p:sp>
      <p:sp>
        <p:nvSpPr>
          <p:cNvPr id="193" name="Flowchart: Terminator 192">
            <a:extLst>
              <a:ext uri="{FF2B5EF4-FFF2-40B4-BE49-F238E27FC236}">
                <a16:creationId xmlns:a16="http://schemas.microsoft.com/office/drawing/2014/main" id="{F0D8D8FC-182C-45A1-8975-8541A80CF9B7}"/>
              </a:ext>
            </a:extLst>
          </p:cNvPr>
          <p:cNvSpPr/>
          <p:nvPr/>
        </p:nvSpPr>
        <p:spPr>
          <a:xfrm>
            <a:off x="7380221" y="720542"/>
            <a:ext cx="3474720" cy="548640"/>
          </a:xfrm>
          <a:prstGeom prst="flowChartTerminator">
            <a:avLst/>
          </a:prstGeom>
          <a:noFill/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orking with </a:t>
            </a: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EADING LEASE &amp; 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LEET CUSTOMER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8017035" y="2708194"/>
            <a:ext cx="2055600" cy="1931883"/>
          </a:xfrm>
          <a:prstGeom prst="rect">
            <a:avLst/>
          </a:prstGeom>
        </p:spPr>
      </p:pic>
      <p:pic>
        <p:nvPicPr>
          <p:cNvPr id="3074" name="Picture 2" descr="Image result for cdk global logo"/>
          <p:cNvPicPr>
            <a:picLocks noChangeAspect="1" noChangeArrowheads="1"/>
          </p:cNvPicPr>
          <p:nvPr/>
        </p:nvPicPr>
        <p:blipFill>
          <a:blip r:embed="rId5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4500" y="4694663"/>
            <a:ext cx="694534" cy="694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71735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3743785-5AD7-4D55-BA2D-412E9874B3C0}"/>
              </a:ext>
            </a:extLst>
          </p:cNvPr>
          <p:cNvSpPr/>
          <p:nvPr/>
        </p:nvSpPr>
        <p:spPr>
          <a:xfrm>
            <a:off x="392935" y="1831009"/>
            <a:ext cx="44214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dirty="0"/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4E631013-39F8-4A65-BDD9-548FC51076F1}"/>
              </a:ext>
            </a:extLst>
          </p:cNvPr>
          <p:cNvGrpSpPr/>
          <p:nvPr/>
        </p:nvGrpSpPr>
        <p:grpSpPr>
          <a:xfrm>
            <a:off x="180092" y="1496181"/>
            <a:ext cx="3657600" cy="4370427"/>
            <a:chOff x="395227" y="1124229"/>
            <a:chExt cx="3657600" cy="4370427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1147E91-732E-43A8-85B1-7C58595BCFF0}"/>
                </a:ext>
              </a:extLst>
            </p:cNvPr>
            <p:cNvSpPr/>
            <p:nvPr/>
          </p:nvSpPr>
          <p:spPr>
            <a:xfrm>
              <a:off x="395227" y="5186879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GB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Customer Relationship Management (CRM)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356A29E-2B13-4DA3-9BA3-4E115D85CAB3}"/>
                </a:ext>
              </a:extLst>
            </p:cNvPr>
            <p:cNvSpPr/>
            <p:nvPr/>
          </p:nvSpPr>
          <p:spPr>
            <a:xfrm>
              <a:off x="395227" y="4817547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GB" sz="1400">
                  <a:latin typeface="Segoe UI" panose="020B0502040204020203" pitchFamily="34" charset="0"/>
                  <a:cs typeface="Segoe UI" panose="020B0502040204020203" pitchFamily="34" charset="0"/>
                </a:rPr>
                <a:t>Customer Delight Service Solution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8DD421B-0A2E-454D-B208-9F565900796B}"/>
                </a:ext>
              </a:extLst>
            </p:cNvPr>
            <p:cNvSpPr/>
            <p:nvPr/>
          </p:nvSpPr>
          <p:spPr>
            <a:xfrm>
              <a:off x="395227" y="4448216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GB" sz="1400">
                  <a:latin typeface="Segoe UI" panose="020B0502040204020203" pitchFamily="34" charset="0"/>
                  <a:cs typeface="Segoe UI" panose="020B0502040204020203" pitchFamily="34" charset="0"/>
                </a:rPr>
                <a:t>Customer Count - IOT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607BCEC-4AAB-4BFC-ADFA-04BD68E46A22}"/>
                </a:ext>
              </a:extLst>
            </p:cNvPr>
            <p:cNvSpPr/>
            <p:nvPr/>
          </p:nvSpPr>
          <p:spPr>
            <a:xfrm>
              <a:off x="395227" y="4078885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GB" sz="1400">
                  <a:latin typeface="Segoe UI" panose="020B0502040204020203" pitchFamily="34" charset="0"/>
                  <a:cs typeface="Segoe UI" panose="020B0502040204020203" pitchFamily="34" charset="0"/>
                </a:rPr>
                <a:t>Customer 360'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21A0D6E-740A-4C9F-B61B-C52B171C4164}"/>
                </a:ext>
              </a:extLst>
            </p:cNvPr>
            <p:cNvSpPr/>
            <p:nvPr/>
          </p:nvSpPr>
          <p:spPr>
            <a:xfrm>
              <a:off x="395227" y="3709553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GB" sz="1400">
                  <a:latin typeface="Segoe UI" panose="020B0502040204020203" pitchFamily="34" charset="0"/>
                  <a:cs typeface="Segoe UI" panose="020B0502040204020203" pitchFamily="34" charset="0"/>
                </a:rPr>
                <a:t>CRM Connectors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19EE357-2DFB-4632-A152-31D4C2E7416D}"/>
                </a:ext>
              </a:extLst>
            </p:cNvPr>
            <p:cNvSpPr/>
            <p:nvPr/>
          </p:nvSpPr>
          <p:spPr>
            <a:xfrm>
              <a:off x="395227" y="3340221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Centralized Dealer Management 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26F44C2-3996-45FF-8D45-18AAF3FAE67E}"/>
                </a:ext>
              </a:extLst>
            </p:cNvPr>
            <p:cNvSpPr/>
            <p:nvPr/>
          </p:nvSpPr>
          <p:spPr>
            <a:xfrm>
              <a:off x="395227" y="2970889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>Central - Smart Planner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CAE9E3A-C649-4A25-9F8D-4CE00526E92C}"/>
                </a:ext>
              </a:extLst>
            </p:cNvPr>
            <p:cNvSpPr/>
            <p:nvPr/>
          </p:nvSpPr>
          <p:spPr>
            <a:xfrm>
              <a:off x="395227" y="2601557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>Campaign Manager - Aftersales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7E2FE7C-B279-4067-BD82-28CE7019B98B}"/>
                </a:ext>
              </a:extLst>
            </p:cNvPr>
            <p:cNvSpPr/>
            <p:nvPr/>
          </p:nvSpPr>
          <p:spPr>
            <a:xfrm>
              <a:off x="395227" y="2232225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>Booking Tracker (Real time order mgmt.)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56E33BF-B86A-4412-B960-0FE6EAE36B7D}"/>
                </a:ext>
              </a:extLst>
            </p:cNvPr>
            <p:cNvSpPr/>
            <p:nvPr/>
          </p:nvSpPr>
          <p:spPr>
            <a:xfrm>
              <a:off x="395227" y="1862893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>Automized Schedule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9C179A2-5445-4515-B645-73046B835BBE}"/>
                </a:ext>
              </a:extLst>
            </p:cNvPr>
            <p:cNvSpPr/>
            <p:nvPr/>
          </p:nvSpPr>
          <p:spPr>
            <a:xfrm>
              <a:off x="395227" y="1493561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>Automatic LP Recognition - Alerts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885F7BD-A164-4907-A866-CF8D976F3A41}"/>
                </a:ext>
              </a:extLst>
            </p:cNvPr>
            <p:cNvSpPr/>
            <p:nvPr/>
          </p:nvSpPr>
          <p:spPr>
            <a:xfrm>
              <a:off x="395227" y="1124229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Annual Maintenance Program (Loyalty)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5635CFA1-EB36-424C-A1C2-59B46D4AA5E1}"/>
              </a:ext>
            </a:extLst>
          </p:cNvPr>
          <p:cNvSpPr/>
          <p:nvPr/>
        </p:nvSpPr>
        <p:spPr>
          <a:xfrm>
            <a:off x="3978922" y="1994011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FF3ADF43-8392-4460-B379-D0FB1434FF9F}"/>
              </a:ext>
            </a:extLst>
          </p:cNvPr>
          <p:cNvSpPr/>
          <p:nvPr/>
        </p:nvSpPr>
        <p:spPr>
          <a:xfrm>
            <a:off x="3938527" y="5179497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8B84E8E9-7049-42B0-9994-BDF615775E92}"/>
              </a:ext>
            </a:extLst>
          </p:cNvPr>
          <p:cNvSpPr/>
          <p:nvPr/>
        </p:nvSpPr>
        <p:spPr>
          <a:xfrm>
            <a:off x="3938527" y="4810166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C4FFEBC6-C1FD-42EF-B359-03D0944C3E1C}"/>
              </a:ext>
            </a:extLst>
          </p:cNvPr>
          <p:cNvSpPr/>
          <p:nvPr/>
        </p:nvSpPr>
        <p:spPr>
          <a:xfrm>
            <a:off x="3938527" y="4440835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7D5B7940-C566-46EB-A03A-888429C4C53F}"/>
              </a:ext>
            </a:extLst>
          </p:cNvPr>
          <p:cNvSpPr/>
          <p:nvPr/>
        </p:nvSpPr>
        <p:spPr>
          <a:xfrm>
            <a:off x="3938527" y="4071503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6CA84B21-743D-44D6-9BB0-614C99ADC785}"/>
              </a:ext>
            </a:extLst>
          </p:cNvPr>
          <p:cNvSpPr/>
          <p:nvPr/>
        </p:nvSpPr>
        <p:spPr>
          <a:xfrm>
            <a:off x="3938527" y="3702171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C210D7D8-8749-48DA-8ABC-81B9F8CF98A8}"/>
              </a:ext>
            </a:extLst>
          </p:cNvPr>
          <p:cNvSpPr/>
          <p:nvPr/>
        </p:nvSpPr>
        <p:spPr>
          <a:xfrm>
            <a:off x="3938527" y="3332839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D570E265-E976-4B5A-B18B-5FFB9933FA3C}"/>
              </a:ext>
            </a:extLst>
          </p:cNvPr>
          <p:cNvSpPr/>
          <p:nvPr/>
        </p:nvSpPr>
        <p:spPr>
          <a:xfrm>
            <a:off x="3938527" y="2963507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3B7ACBA4-285E-4F2B-95D0-A1979625BFA2}"/>
              </a:ext>
            </a:extLst>
          </p:cNvPr>
          <p:cNvSpPr/>
          <p:nvPr/>
        </p:nvSpPr>
        <p:spPr>
          <a:xfrm>
            <a:off x="3938527" y="2594175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3030303B-C9E1-4888-9135-9C81C8EBDAAF}"/>
              </a:ext>
            </a:extLst>
          </p:cNvPr>
          <p:cNvSpPr/>
          <p:nvPr/>
        </p:nvSpPr>
        <p:spPr>
          <a:xfrm>
            <a:off x="3938527" y="2224843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3BA3379F-4044-4165-873D-CE90B66E3E71}"/>
              </a:ext>
            </a:extLst>
          </p:cNvPr>
          <p:cNvSpPr/>
          <p:nvPr/>
        </p:nvSpPr>
        <p:spPr>
          <a:xfrm>
            <a:off x="3938527" y="1855511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3E77E5E-468E-4FA5-A981-F9C63A826753}"/>
              </a:ext>
            </a:extLst>
          </p:cNvPr>
          <p:cNvSpPr/>
          <p:nvPr/>
        </p:nvSpPr>
        <p:spPr>
          <a:xfrm>
            <a:off x="3938527" y="1486179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A4B8133D-75CB-43C4-9C55-A65F3BD14D79}"/>
              </a:ext>
            </a:extLst>
          </p:cNvPr>
          <p:cNvSpPr/>
          <p:nvPr/>
        </p:nvSpPr>
        <p:spPr>
          <a:xfrm>
            <a:off x="7791450" y="1578511"/>
            <a:ext cx="42672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id="{20BC8041-8BF4-4EC4-B700-0BF9B95B3F6C}"/>
              </a:ext>
            </a:extLst>
          </p:cNvPr>
          <p:cNvSpPr/>
          <p:nvPr/>
        </p:nvSpPr>
        <p:spPr>
          <a:xfrm>
            <a:off x="8253473" y="5179499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id="{12B50C03-0A60-47A7-9938-3B51EAC55A96}"/>
              </a:ext>
            </a:extLst>
          </p:cNvPr>
          <p:cNvSpPr/>
          <p:nvPr/>
        </p:nvSpPr>
        <p:spPr>
          <a:xfrm>
            <a:off x="8253473" y="4810167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2788B2C8-636C-4127-8C01-CFBBEC84D613}"/>
              </a:ext>
            </a:extLst>
          </p:cNvPr>
          <p:cNvSpPr/>
          <p:nvPr/>
        </p:nvSpPr>
        <p:spPr>
          <a:xfrm>
            <a:off x="8253473" y="4440835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id="{657B9135-AB04-448B-A7BA-F361BE89559D}"/>
              </a:ext>
            </a:extLst>
          </p:cNvPr>
          <p:cNvSpPr/>
          <p:nvPr/>
        </p:nvSpPr>
        <p:spPr>
          <a:xfrm>
            <a:off x="8253473" y="4071503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id="{7F76ACDB-E24B-4082-8AEF-8D3BECB563D4}"/>
              </a:ext>
            </a:extLst>
          </p:cNvPr>
          <p:cNvSpPr/>
          <p:nvPr/>
        </p:nvSpPr>
        <p:spPr>
          <a:xfrm>
            <a:off x="8253473" y="3702171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id="{9058CC31-612D-4362-AFA0-F09EB42794B6}"/>
              </a:ext>
            </a:extLst>
          </p:cNvPr>
          <p:cNvSpPr/>
          <p:nvPr/>
        </p:nvSpPr>
        <p:spPr>
          <a:xfrm>
            <a:off x="8253473" y="3332839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id="{FF2D702E-6092-479D-891D-6D059F76475B}"/>
              </a:ext>
            </a:extLst>
          </p:cNvPr>
          <p:cNvSpPr/>
          <p:nvPr/>
        </p:nvSpPr>
        <p:spPr>
          <a:xfrm>
            <a:off x="8253473" y="2963507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id="{F6C1FF46-8C4C-447B-A2C9-2A943BC7C413}"/>
              </a:ext>
            </a:extLst>
          </p:cNvPr>
          <p:cNvSpPr/>
          <p:nvPr/>
        </p:nvSpPr>
        <p:spPr>
          <a:xfrm>
            <a:off x="8253473" y="2594175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id="{D2EBDC1D-1D58-402C-BB86-94C135F04EE8}"/>
              </a:ext>
            </a:extLst>
          </p:cNvPr>
          <p:cNvSpPr/>
          <p:nvPr/>
        </p:nvSpPr>
        <p:spPr>
          <a:xfrm>
            <a:off x="8253473" y="2224843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id="{98275892-F4B3-4956-A7E8-E913ECAEE5C0}"/>
              </a:ext>
            </a:extLst>
          </p:cNvPr>
          <p:cNvSpPr/>
          <p:nvPr/>
        </p:nvSpPr>
        <p:spPr>
          <a:xfrm>
            <a:off x="8253473" y="1855511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48034350-0AD3-452D-837B-E37F26A7384C}"/>
              </a:ext>
            </a:extLst>
          </p:cNvPr>
          <p:cNvSpPr/>
          <p:nvPr/>
        </p:nvSpPr>
        <p:spPr>
          <a:xfrm>
            <a:off x="8253473" y="1486179"/>
            <a:ext cx="365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883456FF-4CAD-48B6-AA3A-B48290BAD9B1}"/>
              </a:ext>
            </a:extLst>
          </p:cNvPr>
          <p:cNvGrpSpPr/>
          <p:nvPr/>
        </p:nvGrpSpPr>
        <p:grpSpPr>
          <a:xfrm>
            <a:off x="7749292" y="1311516"/>
            <a:ext cx="4267200" cy="4739757"/>
            <a:chOff x="7924800" y="1124229"/>
            <a:chExt cx="4267200" cy="4739757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32BF6EB5-5EED-4808-8560-03313920551F}"/>
                </a:ext>
              </a:extLst>
            </p:cNvPr>
            <p:cNvSpPr/>
            <p:nvPr/>
          </p:nvSpPr>
          <p:spPr>
            <a:xfrm>
              <a:off x="7924800" y="5556209"/>
              <a:ext cx="42672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GB" sz="1400">
                  <a:latin typeface="Segoe UI" panose="020B0502040204020203" pitchFamily="34" charset="0"/>
                  <a:cs typeface="Segoe UI" panose="020B0502040204020203" pitchFamily="34" charset="0"/>
                </a:rPr>
                <a:t>Webshop (Parts, Accessories, Merchandize)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63FD84F1-2795-419A-B9D8-1BA362FFF4E2}"/>
                </a:ext>
              </a:extLst>
            </p:cNvPr>
            <p:cNvSpPr/>
            <p:nvPr/>
          </p:nvSpPr>
          <p:spPr>
            <a:xfrm>
              <a:off x="7924800" y="5186881"/>
              <a:ext cx="42672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GB" sz="1400">
                  <a:latin typeface="Segoe UI" panose="020B0502040204020203" pitchFamily="34" charset="0"/>
                  <a:cs typeface="Segoe UI" panose="020B0502040204020203" pitchFamily="34" charset="0"/>
                </a:rPr>
                <a:t>Warranty Management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D3799B1E-CC94-4FA0-B8EE-8F9EED074D3E}"/>
                </a:ext>
              </a:extLst>
            </p:cNvPr>
            <p:cNvSpPr/>
            <p:nvPr/>
          </p:nvSpPr>
          <p:spPr>
            <a:xfrm>
              <a:off x="7924800" y="4817549"/>
              <a:ext cx="42672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GB" sz="1400">
                  <a:latin typeface="Segoe UI" panose="020B0502040204020203" pitchFamily="34" charset="0"/>
                  <a:cs typeface="Segoe UI" panose="020B0502040204020203" pitchFamily="34" charset="0"/>
                </a:rPr>
                <a:t>Used Car - Intake &amp; Valuation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D991A178-6DA4-4AEB-9B1D-90EAD1877D65}"/>
                </a:ext>
              </a:extLst>
            </p:cNvPr>
            <p:cNvSpPr/>
            <p:nvPr/>
          </p:nvSpPr>
          <p:spPr>
            <a:xfrm>
              <a:off x="7924800" y="4448217"/>
              <a:ext cx="42672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GB" sz="1400">
                  <a:latin typeface="Segoe UI" panose="020B0502040204020203" pitchFamily="34" charset="0"/>
                  <a:cs typeface="Segoe UI" panose="020B0502040204020203" pitchFamily="34" charset="0"/>
                </a:rPr>
                <a:t>Tire Management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DE81439C-0EE2-47D1-98E7-A35B40A660B2}"/>
                </a:ext>
              </a:extLst>
            </p:cNvPr>
            <p:cNvSpPr/>
            <p:nvPr/>
          </p:nvSpPr>
          <p:spPr>
            <a:xfrm>
              <a:off x="7924800" y="4078885"/>
              <a:ext cx="42672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GB" sz="1400">
                  <a:latin typeface="Segoe UI" panose="020B0502040204020203" pitchFamily="34" charset="0"/>
                  <a:cs typeface="Segoe UI" panose="020B0502040204020203" pitchFamily="34" charset="0"/>
                </a:rPr>
                <a:t>Technical Manual Mang. (Tablet Solution - DSO)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2EF7C131-4805-4DA6-8EB1-81FE78395407}"/>
                </a:ext>
              </a:extLst>
            </p:cNvPr>
            <p:cNvSpPr/>
            <p:nvPr/>
          </p:nvSpPr>
          <p:spPr>
            <a:xfrm>
              <a:off x="7924800" y="3709553"/>
              <a:ext cx="42672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GB" sz="1400">
                  <a:latin typeface="Segoe UI" panose="020B0502040204020203" pitchFamily="34" charset="0"/>
                  <a:cs typeface="Segoe UI" panose="020B0502040204020203" pitchFamily="34" charset="0"/>
                </a:rPr>
                <a:t>Social Engagement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054D325-5A84-482F-8522-C23A59130045}"/>
                </a:ext>
              </a:extLst>
            </p:cNvPr>
            <p:cNvSpPr/>
            <p:nvPr/>
          </p:nvSpPr>
          <p:spPr>
            <a:xfrm>
              <a:off x="7924800" y="3340221"/>
              <a:ext cx="42672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GB" sz="1400">
                  <a:latin typeface="Segoe UI" panose="020B0502040204020203" pitchFamily="34" charset="0"/>
                  <a:cs typeface="Segoe UI" panose="020B0502040204020203" pitchFamily="34" charset="0"/>
                </a:rPr>
                <a:t>Self Servicing Kiosks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134D27A3-2151-4312-A5F7-2F65BA7B6147}"/>
                </a:ext>
              </a:extLst>
            </p:cNvPr>
            <p:cNvSpPr/>
            <p:nvPr/>
          </p:nvSpPr>
          <p:spPr>
            <a:xfrm>
              <a:off x="7924800" y="2970889"/>
              <a:ext cx="42672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>Revenue Management 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42E791E7-5C7B-4D7A-9EF7-BED82BE37B9D}"/>
                </a:ext>
              </a:extLst>
            </p:cNvPr>
            <p:cNvSpPr/>
            <p:nvPr/>
          </p:nvSpPr>
          <p:spPr>
            <a:xfrm>
              <a:off x="7924800" y="2601557"/>
              <a:ext cx="42672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>Rental Car Mang (Individual + 3rd party Connector)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FC5D69DB-9D85-4F51-A1A8-1533E3171279}"/>
                </a:ext>
              </a:extLst>
            </p:cNvPr>
            <p:cNvSpPr/>
            <p:nvPr/>
          </p:nvSpPr>
          <p:spPr>
            <a:xfrm>
              <a:off x="7924800" y="2232225"/>
              <a:ext cx="42672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>Reception Mang (Welcome, Waiting time ++)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B63D5A5D-BE10-4049-ACC2-12ED0647F371}"/>
                </a:ext>
              </a:extLst>
            </p:cNvPr>
            <p:cNvSpPr/>
            <p:nvPr/>
          </p:nvSpPr>
          <p:spPr>
            <a:xfrm>
              <a:off x="7924800" y="1862893"/>
              <a:ext cx="42672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>Recall Management (Connected Campaign)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31CCD62E-FED6-421B-A65D-99CBD20AC4D8}"/>
                </a:ext>
              </a:extLst>
            </p:cNvPr>
            <p:cNvSpPr/>
            <p:nvPr/>
          </p:nvSpPr>
          <p:spPr>
            <a:xfrm>
              <a:off x="7924800" y="1493561"/>
              <a:ext cx="42672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>Performance Dashboard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2D42EA94-1980-400D-883C-746C29E21FA3}"/>
                </a:ext>
              </a:extLst>
            </p:cNvPr>
            <p:cNvSpPr/>
            <p:nvPr/>
          </p:nvSpPr>
          <p:spPr>
            <a:xfrm>
              <a:off x="7924800" y="1124229"/>
              <a:ext cx="42672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>Parts Sorting (AR Based - Glass)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0AEC17AD-0EBE-43CD-AA4E-8CECD56366C0}"/>
              </a:ext>
            </a:extLst>
          </p:cNvPr>
          <p:cNvGrpSpPr/>
          <p:nvPr/>
        </p:nvGrpSpPr>
        <p:grpSpPr>
          <a:xfrm>
            <a:off x="3964692" y="1311516"/>
            <a:ext cx="3657600" cy="4739757"/>
            <a:chOff x="4381500" y="1124229"/>
            <a:chExt cx="3657600" cy="4739757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523CD1B1-577E-44E4-BD34-4B2F19AF662A}"/>
                </a:ext>
              </a:extLst>
            </p:cNvPr>
            <p:cNvSpPr/>
            <p:nvPr/>
          </p:nvSpPr>
          <p:spPr>
            <a:xfrm>
              <a:off x="4381500" y="5186881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GB" sz="1400">
                  <a:latin typeface="Segoe UI" panose="020B0502040204020203" pitchFamily="34" charset="0"/>
                  <a:cs typeface="Segoe UI" panose="020B0502040204020203" pitchFamily="34" charset="0"/>
                </a:rPr>
                <a:t>Online Booking - Widget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1297272E-C454-4D20-A597-A311878F340E}"/>
                </a:ext>
              </a:extLst>
            </p:cNvPr>
            <p:cNvSpPr/>
            <p:nvPr/>
          </p:nvSpPr>
          <p:spPr>
            <a:xfrm>
              <a:off x="4381500" y="4817549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GB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OLB - White Label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ECB36A5-E135-4BD4-A054-BFDC2138E192}"/>
                </a:ext>
              </a:extLst>
            </p:cNvPr>
            <p:cNvSpPr/>
            <p:nvPr/>
          </p:nvSpPr>
          <p:spPr>
            <a:xfrm>
              <a:off x="4381500" y="4448217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GB" sz="1400">
                  <a:latin typeface="Segoe UI" panose="020B0502040204020203" pitchFamily="34" charset="0"/>
                  <a:cs typeface="Segoe UI" panose="020B0502040204020203" pitchFamily="34" charset="0"/>
                </a:rPr>
                <a:t>MyCar - Customer Portal / APP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230B1E1C-9F8E-45A6-9CA3-CECC387F1F32}"/>
                </a:ext>
              </a:extLst>
            </p:cNvPr>
            <p:cNvSpPr/>
            <p:nvPr/>
          </p:nvSpPr>
          <p:spPr>
            <a:xfrm>
              <a:off x="4381500" y="4078885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GB" sz="1400">
                  <a:latin typeface="Segoe UI" panose="020B0502040204020203" pitchFamily="34" charset="0"/>
                  <a:cs typeface="Segoe UI" panose="020B0502040204020203" pitchFamily="34" charset="0"/>
                </a:rPr>
                <a:t>MyCar - Connected APP (Customer)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3AD8F05-4749-4090-B818-7DC152740F41}"/>
                </a:ext>
              </a:extLst>
            </p:cNvPr>
            <p:cNvSpPr/>
            <p:nvPr/>
          </p:nvSpPr>
          <p:spPr>
            <a:xfrm>
              <a:off x="4381500" y="3709553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GB" sz="1400">
                  <a:latin typeface="Segoe UI" panose="020B0502040204020203" pitchFamily="34" charset="0"/>
                  <a:cs typeface="Segoe UI" panose="020B0502040204020203" pitchFamily="34" charset="0"/>
                </a:rPr>
                <a:t>Importer Packages Management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5AAB9961-126A-41A4-B5A7-A78780AECCE5}"/>
                </a:ext>
              </a:extLst>
            </p:cNvPr>
            <p:cNvSpPr/>
            <p:nvPr/>
          </p:nvSpPr>
          <p:spPr>
            <a:xfrm>
              <a:off x="4381500" y="3340221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GB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Importer Mang. Connector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D6829304-5347-40BF-8BA0-C6D03D932E6A}"/>
                </a:ext>
              </a:extLst>
            </p:cNvPr>
            <p:cNvSpPr/>
            <p:nvPr/>
          </p:nvSpPr>
          <p:spPr>
            <a:xfrm>
              <a:off x="4381500" y="2970889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GB" sz="1400">
                  <a:latin typeface="Segoe UI" panose="020B0502040204020203" pitchFamily="34" charset="0"/>
                  <a:cs typeface="Segoe UI" panose="020B0502040204020203" pitchFamily="34" charset="0"/>
                </a:rPr>
                <a:t>Financial Package Connectors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D64CF81A-12CF-4339-9E68-3C91799CD95C}"/>
                </a:ext>
              </a:extLst>
            </p:cNvPr>
            <p:cNvSpPr/>
            <p:nvPr/>
          </p:nvSpPr>
          <p:spPr>
            <a:xfrm>
              <a:off x="4381500" y="2601557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>Dynamic Pricing (Menu + Service)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8BAF9C7F-CC7A-45EB-B4C9-994F8FA4FD09}"/>
                </a:ext>
              </a:extLst>
            </p:cNvPr>
            <p:cNvSpPr/>
            <p:nvPr/>
          </p:nvSpPr>
          <p:spPr>
            <a:xfrm>
              <a:off x="4381500" y="2232225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>DMS Connectors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89DD96BD-E429-4B5C-B4A8-8A5E68A17035}"/>
                </a:ext>
              </a:extLst>
            </p:cNvPr>
            <p:cNvSpPr/>
            <p:nvPr/>
          </p:nvSpPr>
          <p:spPr>
            <a:xfrm>
              <a:off x="4381500" y="1862893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>Digital Service Order (Tablet)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F5E0F611-EAFF-4102-A4A7-2FC81ABF4848}"/>
                </a:ext>
              </a:extLst>
            </p:cNvPr>
            <p:cNvSpPr/>
            <p:nvPr/>
          </p:nvSpPr>
          <p:spPr>
            <a:xfrm>
              <a:off x="4381500" y="1493561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>Dealer Planner (AI + ML Based)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B2883A7-4105-4F2B-97C0-4D03EF0F4A67}"/>
                </a:ext>
              </a:extLst>
            </p:cNvPr>
            <p:cNvSpPr/>
            <p:nvPr/>
          </p:nvSpPr>
          <p:spPr>
            <a:xfrm>
              <a:off x="4381500" y="1124229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Damage Intake (Augmented Reality)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EC234A8B-660C-4A1E-B4C4-57C110A7C5A6}"/>
                </a:ext>
              </a:extLst>
            </p:cNvPr>
            <p:cNvSpPr/>
            <p:nvPr/>
          </p:nvSpPr>
          <p:spPr>
            <a:xfrm>
              <a:off x="4381500" y="5556209"/>
              <a:ext cx="3657600" cy="30777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Optimized Labour Package</a:t>
              </a:r>
              <a:endParaRPr lang="en-GB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91" name="Rectangle 90">
            <a:extLst>
              <a:ext uri="{FF2B5EF4-FFF2-40B4-BE49-F238E27FC236}">
                <a16:creationId xmlns:a16="http://schemas.microsoft.com/office/drawing/2014/main" id="{83C6C9AE-A25A-4C55-8371-F16E5C73C901}"/>
              </a:ext>
            </a:extLst>
          </p:cNvPr>
          <p:cNvSpPr/>
          <p:nvPr/>
        </p:nvSpPr>
        <p:spPr>
          <a:xfrm>
            <a:off x="0" y="0"/>
            <a:ext cx="191719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 Black" panose="020B0A04020102020204" pitchFamily="34" charset="0"/>
              </a:rPr>
              <a:t>Aftersales</a:t>
            </a:r>
            <a:endParaRPr lang="en-GB" sz="2400" dirty="0"/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16B8DCE-80AE-46E0-986A-81AF203DF548}"/>
              </a:ext>
            </a:extLst>
          </p:cNvPr>
          <p:cNvSpPr/>
          <p:nvPr/>
        </p:nvSpPr>
        <p:spPr>
          <a:xfrm>
            <a:off x="0" y="461665"/>
            <a:ext cx="71058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Augment Aftersales Services and Surge Productivity</a:t>
            </a:r>
          </a:p>
        </p:txBody>
      </p:sp>
    </p:spTree>
    <p:extLst>
      <p:ext uri="{BB962C8B-B14F-4D97-AF65-F5344CB8AC3E}">
        <p14:creationId xmlns:p14="http://schemas.microsoft.com/office/powerpoint/2010/main" val="376031866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99B5A9-BDD2-406D-B158-1499C3781DDF}"/>
              </a:ext>
            </a:extLst>
          </p:cNvPr>
          <p:cNvSpPr/>
          <p:nvPr/>
        </p:nvSpPr>
        <p:spPr>
          <a:xfrm>
            <a:off x="6408604" y="2376387"/>
            <a:ext cx="475488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endParaRPr lang="en-GB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D3384F-0F41-486B-AE1E-015CF8C412A1}"/>
              </a:ext>
            </a:extLst>
          </p:cNvPr>
          <p:cNvSpPr/>
          <p:nvPr/>
        </p:nvSpPr>
        <p:spPr>
          <a:xfrm>
            <a:off x="693604" y="2376387"/>
            <a:ext cx="475488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endParaRPr lang="en-US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F39A492-FAF4-4BA3-8961-16D2694A1467}"/>
              </a:ext>
            </a:extLst>
          </p:cNvPr>
          <p:cNvSpPr/>
          <p:nvPr/>
        </p:nvSpPr>
        <p:spPr>
          <a:xfrm>
            <a:off x="6392815" y="5632654"/>
            <a:ext cx="4754880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Webshop</a:t>
            </a:r>
            <a:endParaRPr lang="en-GB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8C39F2F-88E2-4224-AA22-AB42C036A68E}"/>
              </a:ext>
            </a:extLst>
          </p:cNvPr>
          <p:cNvSpPr/>
          <p:nvPr/>
        </p:nvSpPr>
        <p:spPr>
          <a:xfrm>
            <a:off x="6392815" y="5261377"/>
            <a:ext cx="4754880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Used Car Management + Portal</a:t>
            </a:r>
            <a:endParaRPr lang="en-GB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730B18-3490-47E5-99B4-46D52736D68E}"/>
              </a:ext>
            </a:extLst>
          </p:cNvPr>
          <p:cNvSpPr/>
          <p:nvPr/>
        </p:nvSpPr>
        <p:spPr>
          <a:xfrm>
            <a:off x="6392815" y="4890100"/>
            <a:ext cx="4754880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Test Drive APP</a:t>
            </a:r>
            <a:endParaRPr lang="en-GB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5E8F86-86BA-42A0-9DE9-50F8F52DDACB}"/>
              </a:ext>
            </a:extLst>
          </p:cNvPr>
          <p:cNvSpPr/>
          <p:nvPr/>
        </p:nvSpPr>
        <p:spPr>
          <a:xfrm>
            <a:off x="6392815" y="4518823"/>
            <a:ext cx="4754880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Survey Engine</a:t>
            </a:r>
            <a:endParaRPr lang="en-GB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810E31D-9893-4B5A-BBAA-FFE35F9BE0DB}"/>
              </a:ext>
            </a:extLst>
          </p:cNvPr>
          <p:cNvSpPr/>
          <p:nvPr/>
        </p:nvSpPr>
        <p:spPr>
          <a:xfrm>
            <a:off x="6392815" y="4147546"/>
            <a:ext cx="4754880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Social Engagement</a:t>
            </a:r>
            <a:endParaRPr lang="en-GB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BD2D0D-CE17-47ED-8661-67BCF72F335F}"/>
              </a:ext>
            </a:extLst>
          </p:cNvPr>
          <p:cNvSpPr/>
          <p:nvPr/>
        </p:nvSpPr>
        <p:spPr>
          <a:xfrm>
            <a:off x="6392815" y="3776269"/>
            <a:ext cx="4754880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Smart Calculator</a:t>
            </a:r>
            <a:endParaRPr lang="en-GB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019CAD-BC0D-45F5-9CB7-06872CBD3DFC}"/>
              </a:ext>
            </a:extLst>
          </p:cNvPr>
          <p:cNvSpPr/>
          <p:nvPr/>
        </p:nvSpPr>
        <p:spPr>
          <a:xfrm>
            <a:off x="6392815" y="3404992"/>
            <a:ext cx="4754880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SLA Management</a:t>
            </a:r>
            <a:endParaRPr lang="en-GB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5B7F88-FD9E-4600-ABC3-A0777D6AEE23}"/>
              </a:ext>
            </a:extLst>
          </p:cNvPr>
          <p:cNvSpPr/>
          <p:nvPr/>
        </p:nvSpPr>
        <p:spPr>
          <a:xfrm>
            <a:off x="6392815" y="3033715"/>
            <a:ext cx="4754880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Sales Rep App</a:t>
            </a:r>
            <a:endParaRPr lang="en-GB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DAE239A-C655-4841-8BB0-D0871EFF3B68}"/>
              </a:ext>
            </a:extLst>
          </p:cNvPr>
          <p:cNvSpPr/>
          <p:nvPr/>
        </p:nvSpPr>
        <p:spPr>
          <a:xfrm>
            <a:off x="6392815" y="2662438"/>
            <a:ext cx="4754880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Sales Notification</a:t>
            </a:r>
            <a:endParaRPr lang="en-GB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1CF9516-E762-4862-90B5-EBDFAE144830}"/>
              </a:ext>
            </a:extLst>
          </p:cNvPr>
          <p:cNvSpPr/>
          <p:nvPr/>
        </p:nvSpPr>
        <p:spPr>
          <a:xfrm>
            <a:off x="6392815" y="2291161"/>
            <a:ext cx="4754880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Sales Kiosk</a:t>
            </a:r>
            <a:endParaRPr lang="en-GB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62CFEC7-F185-4D82-AE19-0CC8039AB49B}"/>
              </a:ext>
            </a:extLst>
          </p:cNvPr>
          <p:cNvSpPr/>
          <p:nvPr/>
        </p:nvSpPr>
        <p:spPr>
          <a:xfrm>
            <a:off x="6392815" y="1919884"/>
            <a:ext cx="4754880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Sales and Lead Management</a:t>
            </a:r>
            <a:endParaRPr lang="en-GB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80C148-5D58-4676-8F9F-16BF58AF0CAE}"/>
              </a:ext>
            </a:extLst>
          </p:cNvPr>
          <p:cNvSpPr/>
          <p:nvPr/>
        </p:nvSpPr>
        <p:spPr>
          <a:xfrm>
            <a:off x="6392815" y="1548607"/>
            <a:ext cx="4754880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Reception Screen</a:t>
            </a:r>
            <a:endParaRPr lang="en-GB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49C99B0-DB59-4157-AB0A-94208B87D4B1}"/>
              </a:ext>
            </a:extLst>
          </p:cNvPr>
          <p:cNvSpPr/>
          <p:nvPr/>
        </p:nvSpPr>
        <p:spPr>
          <a:xfrm>
            <a:off x="6392815" y="1177330"/>
            <a:ext cx="4754880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Performance and Prediction Dashboard</a:t>
            </a:r>
            <a:endParaRPr lang="en-GB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94ECCEC-BF11-4BFA-968E-B5A4B4D85CB4}"/>
              </a:ext>
            </a:extLst>
          </p:cNvPr>
          <p:cNvSpPr/>
          <p:nvPr/>
        </p:nvSpPr>
        <p:spPr>
          <a:xfrm>
            <a:off x="1341120" y="5542265"/>
            <a:ext cx="475488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Online Dealer Portal</a:t>
            </a:r>
            <a:endParaRPr lang="en-US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51D5A2F-7823-4399-B725-4D1B31024C73}"/>
              </a:ext>
            </a:extLst>
          </p:cNvPr>
          <p:cNvSpPr/>
          <p:nvPr/>
        </p:nvSpPr>
        <p:spPr>
          <a:xfrm>
            <a:off x="1341120" y="5165218"/>
            <a:ext cx="475488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New Car - Sales Portal</a:t>
            </a:r>
            <a:endParaRPr lang="en-US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A0986DD-63E3-47FE-8B97-D4AA307E136B}"/>
              </a:ext>
            </a:extLst>
          </p:cNvPr>
          <p:cNvSpPr/>
          <p:nvPr/>
        </p:nvSpPr>
        <p:spPr>
          <a:xfrm>
            <a:off x="1341120" y="4788168"/>
            <a:ext cx="475488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Lease Integrator</a:t>
            </a:r>
            <a:endParaRPr lang="en-US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92A07A8-5606-4B07-88D1-58499738D4B1}"/>
              </a:ext>
            </a:extLst>
          </p:cNvPr>
          <p:cNvSpPr/>
          <p:nvPr/>
        </p:nvSpPr>
        <p:spPr>
          <a:xfrm>
            <a:off x="1341120" y="4411118"/>
            <a:ext cx="475488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IOT - Thermal Device - Counter</a:t>
            </a:r>
            <a:endParaRPr lang="en-US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EE8AD75-AD7B-4F23-88CC-2D400586D06C}"/>
              </a:ext>
            </a:extLst>
          </p:cNvPr>
          <p:cNvSpPr/>
          <p:nvPr/>
        </p:nvSpPr>
        <p:spPr>
          <a:xfrm>
            <a:off x="1341120" y="4034068"/>
            <a:ext cx="475488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Financial Integrator</a:t>
            </a:r>
            <a:endParaRPr lang="en-US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15E960D-7B71-4916-95F1-4544E880C79F}"/>
              </a:ext>
            </a:extLst>
          </p:cNvPr>
          <p:cNvSpPr/>
          <p:nvPr/>
        </p:nvSpPr>
        <p:spPr>
          <a:xfrm>
            <a:off x="1341120" y="3657018"/>
            <a:ext cx="475488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Dynamic Pricing - New and Used Car</a:t>
            </a:r>
            <a:endParaRPr lang="en-US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FCD787E-312C-477F-880A-A6A6C8C811C2}"/>
              </a:ext>
            </a:extLst>
          </p:cNvPr>
          <p:cNvSpPr/>
          <p:nvPr/>
        </p:nvSpPr>
        <p:spPr>
          <a:xfrm>
            <a:off x="1341120" y="3279968"/>
            <a:ext cx="475488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Digital Workspace</a:t>
            </a:r>
            <a:endParaRPr lang="en-US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744B27F-29C9-427D-B333-DFF6BBDF5853}"/>
              </a:ext>
            </a:extLst>
          </p:cNvPr>
          <p:cNvSpPr/>
          <p:nvPr/>
        </p:nvSpPr>
        <p:spPr>
          <a:xfrm>
            <a:off x="1341120" y="2902918"/>
            <a:ext cx="475488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Dealer Ordering System - Importer Connector</a:t>
            </a:r>
            <a:endParaRPr lang="en-US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49ECC26-1F0F-422F-B3FA-5462A26D1BB5}"/>
              </a:ext>
            </a:extLst>
          </p:cNvPr>
          <p:cNvSpPr/>
          <p:nvPr/>
        </p:nvSpPr>
        <p:spPr>
          <a:xfrm>
            <a:off x="1341120" y="2525868"/>
            <a:ext cx="475488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Customer Portal + APP</a:t>
            </a:r>
            <a:endParaRPr lang="en-US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E3BA3AE-C66B-4CF8-8852-AE08AD86726A}"/>
              </a:ext>
            </a:extLst>
          </p:cNvPr>
          <p:cNvSpPr/>
          <p:nvPr/>
        </p:nvSpPr>
        <p:spPr>
          <a:xfrm>
            <a:off x="1341120" y="2148818"/>
            <a:ext cx="475488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Car Tracker</a:t>
            </a:r>
            <a:endParaRPr lang="en-US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E3F9804-E9AA-4C19-95B1-350D36327DD6}"/>
              </a:ext>
            </a:extLst>
          </p:cNvPr>
          <p:cNvSpPr/>
          <p:nvPr/>
        </p:nvSpPr>
        <p:spPr>
          <a:xfrm>
            <a:off x="1341120" y="1771768"/>
            <a:ext cx="475488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Car Configurator</a:t>
            </a:r>
            <a:endParaRPr lang="en-US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37E4033-DB85-4E82-998D-14BEBB222DC5}"/>
              </a:ext>
            </a:extLst>
          </p:cNvPr>
          <p:cNvSpPr/>
          <p:nvPr/>
        </p:nvSpPr>
        <p:spPr>
          <a:xfrm>
            <a:off x="1341120" y="1394718"/>
            <a:ext cx="475488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Campaign Manager</a:t>
            </a:r>
            <a:endParaRPr lang="en-US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708D393-4180-4F60-B43A-CF3056869981}"/>
              </a:ext>
            </a:extLst>
          </p:cNvPr>
          <p:cNvSpPr/>
          <p:nvPr/>
        </p:nvSpPr>
        <p:spPr>
          <a:xfrm>
            <a:off x="0" y="0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 Black" panose="020B0A04020102020204" pitchFamily="34" charset="0"/>
              </a:rPr>
              <a:t>Sales</a:t>
            </a:r>
            <a:endParaRPr lang="en-GB" sz="2400" dirty="0">
              <a:solidFill>
                <a:prstClr val="black">
                  <a:lumMod val="75000"/>
                  <a:lumOff val="25000"/>
                </a:prstClr>
              </a:solidFill>
              <a:latin typeface="Arial Black" panose="020B0A040201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7D20358-4786-42AC-AA58-C2C541419A2F}"/>
              </a:ext>
            </a:extLst>
          </p:cNvPr>
          <p:cNvSpPr/>
          <p:nvPr/>
        </p:nvSpPr>
        <p:spPr>
          <a:xfrm>
            <a:off x="0" y="461665"/>
            <a:ext cx="71389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Painless car buying experience for end customers</a:t>
            </a:r>
          </a:p>
        </p:txBody>
      </p:sp>
    </p:spTree>
    <p:extLst>
      <p:ext uri="{BB962C8B-B14F-4D97-AF65-F5344CB8AC3E}">
        <p14:creationId xmlns:p14="http://schemas.microsoft.com/office/powerpoint/2010/main" val="13184782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ustrial Evolution</a:t>
            </a:r>
          </a:p>
        </p:txBody>
      </p:sp>
      <p:grpSp>
        <p:nvGrpSpPr>
          <p:cNvPr id="96" name="Group 95"/>
          <p:cNvGrpSpPr/>
          <p:nvPr/>
        </p:nvGrpSpPr>
        <p:grpSpPr>
          <a:xfrm>
            <a:off x="1919537" y="841305"/>
            <a:ext cx="8352927" cy="5175390"/>
            <a:chOff x="1839543" y="1043902"/>
            <a:chExt cx="8352927" cy="5175390"/>
          </a:xfrm>
        </p:grpSpPr>
        <p:sp>
          <p:nvSpPr>
            <p:cNvPr id="69" name="Rechteck 6"/>
            <p:cNvSpPr/>
            <p:nvPr/>
          </p:nvSpPr>
          <p:spPr>
            <a:xfrm>
              <a:off x="8104238" y="2056396"/>
              <a:ext cx="1812006" cy="914450"/>
            </a:xfrm>
            <a:prstGeom prst="rect">
              <a:avLst/>
            </a:prstGeom>
            <a:solidFill>
              <a:srgbClr val="6DB3B3">
                <a:alpha val="7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>
                <a:buFont typeface="Times" pitchFamily="18" charset="0"/>
                <a:buNone/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Segoe UI" panose="020B0502040204020203" pitchFamily="34" charset="0"/>
                  <a:ea typeface="ＭＳ Ｐゴシック" pitchFamily="1" charset="-128"/>
                  <a:cs typeface="Segoe UI" panose="020B0502040204020203" pitchFamily="34" charset="0"/>
                </a:rPr>
                <a:t>4. </a:t>
              </a:r>
              <a:r>
                <a:rPr lang="en-US" altLang="de-DE" sz="1200" b="1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dustrial revolution</a:t>
              </a:r>
              <a:endParaRPr lang="en-US" sz="1200" b="1" kern="0" dirty="0">
                <a:solidFill>
                  <a:srgbClr val="000000"/>
                </a:solidFill>
                <a:latin typeface="Segoe UI" panose="020B0502040204020203" pitchFamily="34" charset="0"/>
                <a:ea typeface="ＭＳ Ｐゴシック" pitchFamily="1" charset="-128"/>
                <a:cs typeface="Segoe UI" panose="020B0502040204020203" pitchFamily="34" charset="0"/>
              </a:endParaRPr>
            </a:p>
            <a:p>
              <a:pPr>
                <a:buFont typeface="Times" pitchFamily="18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latin typeface="Segoe UI" panose="020B0502040204020203" pitchFamily="34" charset="0"/>
                  <a:ea typeface="ＭＳ Ｐゴシック" pitchFamily="1" charset="-128"/>
                  <a:cs typeface="Segoe UI" panose="020B0502040204020203" pitchFamily="34" charset="0"/>
                </a:rPr>
                <a:t>Based on cyber-physical-</a:t>
              </a:r>
            </a:p>
            <a:p>
              <a:pPr>
                <a:buFont typeface="Times" pitchFamily="18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latin typeface="Segoe UI" panose="020B0502040204020203" pitchFamily="34" charset="0"/>
                  <a:ea typeface="ＭＳ Ｐゴシック" pitchFamily="1" charset="-128"/>
                  <a:cs typeface="Segoe UI" panose="020B0502040204020203" pitchFamily="34" charset="0"/>
                </a:rPr>
                <a:t>systems</a:t>
              </a:r>
            </a:p>
          </p:txBody>
        </p:sp>
        <p:sp>
          <p:nvSpPr>
            <p:cNvPr id="70" name="Rechteck 24"/>
            <p:cNvSpPr/>
            <p:nvPr/>
          </p:nvSpPr>
          <p:spPr>
            <a:xfrm>
              <a:off x="6091972" y="2973354"/>
              <a:ext cx="3824273" cy="919316"/>
            </a:xfrm>
            <a:prstGeom prst="rect">
              <a:avLst/>
            </a:prstGeom>
            <a:solidFill>
              <a:srgbClr val="808080">
                <a:lumMod val="20000"/>
                <a:lumOff val="80000"/>
                <a:alpha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imes" pitchFamily="18" charset="0"/>
                <a:buNone/>
                <a:tabLst/>
                <a:defRPr/>
              </a:pP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ＭＳ Ｐゴシック" pitchFamily="1" charset="-128"/>
                  <a:cs typeface="Segoe UI" panose="020B0502040204020203" pitchFamily="34" charset="0"/>
                </a:rPr>
                <a:t>3. </a:t>
              </a:r>
              <a:r>
                <a:rPr kumimoji="0" lang="en-US" alt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ndustrial revolution 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ＭＳ Ｐゴシック" pitchFamily="1" charset="-128"/>
                <a:cs typeface="Segoe UI" panose="020B0502040204020203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imes" pitchFamily="18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ＭＳ Ｐゴシック" pitchFamily="1" charset="-128"/>
                  <a:cs typeface="Segoe UI" panose="020B0502040204020203" pitchFamily="34" charset="0"/>
                </a:rPr>
                <a:t>Through the use of electronic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imes" pitchFamily="18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ＭＳ Ｐゴシック" pitchFamily="1" charset="-128"/>
                  <a:cs typeface="Segoe UI" panose="020B0502040204020203" pitchFamily="34" charset="0"/>
                </a:rPr>
                <a:t>and IT further progression in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imes" pitchFamily="18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ＭＳ Ｐゴシック" pitchFamily="1" charset="-128"/>
                  <a:cs typeface="Segoe UI" panose="020B0502040204020203" pitchFamily="34" charset="0"/>
                </a:rPr>
                <a:t>autonomous production</a:t>
              </a:r>
            </a:p>
          </p:txBody>
        </p:sp>
        <p:sp>
          <p:nvSpPr>
            <p:cNvPr id="71" name="Rechteck 5"/>
            <p:cNvSpPr>
              <a:spLocks noChangeArrowheads="1"/>
            </p:cNvSpPr>
            <p:nvPr/>
          </p:nvSpPr>
          <p:spPr bwMode="auto">
            <a:xfrm>
              <a:off x="3965757" y="3895178"/>
              <a:ext cx="5950488" cy="961534"/>
            </a:xfrm>
            <a:prstGeom prst="rect">
              <a:avLst/>
            </a:prstGeom>
            <a:solidFill>
              <a:srgbClr val="808080">
                <a:alpha val="90000"/>
              </a:srgbClr>
            </a:solidFill>
            <a:ln>
              <a:noFill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imes" panose="02020603050405020304" pitchFamily="18" charset="0"/>
                <a:buNone/>
                <a:tabLst/>
                <a:defRPr/>
              </a:pPr>
              <a:r>
                <a:rPr kumimoji="0" lang="en-US" alt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2. Industrial revolution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imes" panose="02020603050405020304" pitchFamily="18" charset="0"/>
                <a:buNone/>
                <a:tabLst/>
                <a:defRPr/>
              </a:pPr>
              <a:r>
                <a:rPr kumimoji="0" lang="en-US" altLang="de-DE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ntroducing mass production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imes" panose="02020603050405020304" pitchFamily="18" charset="0"/>
                <a:buNone/>
                <a:tabLst/>
                <a:defRPr/>
              </a:pPr>
              <a:r>
                <a:rPr kumimoji="0" lang="en-US" altLang="de-DE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lines powered by electric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imes" panose="02020603050405020304" pitchFamily="18" charset="0"/>
                <a:buNone/>
                <a:tabLst/>
                <a:defRPr/>
              </a:pPr>
              <a:r>
                <a:rPr kumimoji="0" lang="en-US" altLang="de-DE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nergy</a:t>
              </a:r>
            </a:p>
          </p:txBody>
        </p:sp>
        <p:sp>
          <p:nvSpPr>
            <p:cNvPr id="72" name="Rechteck 4"/>
            <p:cNvSpPr>
              <a:spLocks noChangeArrowheads="1"/>
            </p:cNvSpPr>
            <p:nvPr/>
          </p:nvSpPr>
          <p:spPr bwMode="auto">
            <a:xfrm>
              <a:off x="1839543" y="4806028"/>
              <a:ext cx="8076702" cy="949826"/>
            </a:xfrm>
            <a:prstGeom prst="rect">
              <a:avLst/>
            </a:prstGeom>
            <a:solidFill>
              <a:srgbClr val="808080">
                <a:lumMod val="50000"/>
              </a:srgbClr>
            </a:solidFill>
            <a:ln>
              <a:noFill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imes" panose="02020603050405020304" pitchFamily="18" charset="0"/>
                <a:buNone/>
                <a:tabLst/>
                <a:defRPr/>
              </a:pPr>
              <a:r>
                <a:rPr kumimoji="0" lang="de-DE" alt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1</a:t>
              </a:r>
              <a:r>
                <a:rPr kumimoji="0" lang="en-US" alt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. Industrial revolution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imes" panose="02020603050405020304" pitchFamily="18" charset="0"/>
                <a:buNone/>
                <a:tabLst/>
                <a:defRPr/>
              </a:pPr>
              <a:r>
                <a:rPr kumimoji="0" lang="en-US" altLang="de-DE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ntroducing mechanical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imes" panose="02020603050405020304" pitchFamily="18" charset="0"/>
                <a:buNone/>
                <a:tabLst/>
                <a:defRPr/>
              </a:pPr>
              <a:r>
                <a:rPr kumimoji="0" lang="en-US" altLang="de-DE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duction machines powered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imes" panose="02020603050405020304" pitchFamily="18" charset="0"/>
                <a:buNone/>
                <a:tabLst/>
                <a:defRPr/>
              </a:pPr>
              <a:r>
                <a:rPr kumimoji="0" lang="en-US" altLang="de-DE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by water and steam</a:t>
              </a:r>
            </a:p>
          </p:txBody>
        </p:sp>
        <p:cxnSp>
          <p:nvCxnSpPr>
            <p:cNvPr id="73" name="Gerade Verbindung mit Pfeil 78"/>
            <p:cNvCxnSpPr>
              <a:cxnSpLocks noChangeShapeType="1"/>
            </p:cNvCxnSpPr>
            <p:nvPr/>
          </p:nvCxnSpPr>
          <p:spPr bwMode="auto">
            <a:xfrm>
              <a:off x="8093949" y="2056396"/>
              <a:ext cx="6246" cy="3699458"/>
            </a:xfrm>
            <a:prstGeom prst="straightConnector1">
              <a:avLst/>
            </a:prstGeom>
            <a:noFill/>
            <a:ln w="25400" cap="flat" cmpd="sng" algn="ctr">
              <a:solidFill>
                <a:srgbClr val="6DB3B3"/>
              </a:solidFill>
              <a:prstDash val="solid"/>
              <a:headEnd/>
              <a:tailEnd type="arrow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sp>
          <p:nvSpPr>
            <p:cNvPr id="74" name="Textfeld 79"/>
            <p:cNvSpPr txBox="1">
              <a:spLocks noChangeArrowheads="1"/>
            </p:cNvSpPr>
            <p:nvPr/>
          </p:nvSpPr>
          <p:spPr bwMode="auto">
            <a:xfrm>
              <a:off x="2318951" y="5749135"/>
              <a:ext cx="1130246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Font typeface="Times" panose="02020603050405020304" pitchFamily="18" charset="0"/>
                <a:buNone/>
              </a:pPr>
              <a:r>
                <a:rPr lang="en-US" altLang="de-DE" sz="1200" b="1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nd of the </a:t>
              </a:r>
            </a:p>
            <a:p>
              <a:pPr>
                <a:buFont typeface="Times" panose="02020603050405020304" pitchFamily="18" charset="0"/>
                <a:buNone/>
              </a:pPr>
              <a:r>
                <a:rPr lang="en-US" altLang="de-DE" sz="1200" b="1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18th century</a:t>
              </a:r>
              <a:r>
                <a:rPr lang="de-DE" altLang="de-DE" sz="1200" b="1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.</a:t>
              </a:r>
            </a:p>
          </p:txBody>
        </p:sp>
        <p:sp>
          <p:nvSpPr>
            <p:cNvPr id="75" name="Textfeld 80"/>
            <p:cNvSpPr txBox="1">
              <a:spLocks noChangeArrowheads="1"/>
            </p:cNvSpPr>
            <p:nvPr/>
          </p:nvSpPr>
          <p:spPr bwMode="auto">
            <a:xfrm>
              <a:off x="4350777" y="5757627"/>
              <a:ext cx="1446230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buFont typeface="Times" panose="02020603050405020304" pitchFamily="18" charset="0"/>
                <a:buNone/>
              </a:pPr>
              <a:r>
                <a:rPr lang="en-US" altLang="de-DE" sz="1200" b="1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eginning of the </a:t>
              </a:r>
            </a:p>
            <a:p>
              <a:pPr algn="ctr">
                <a:buFont typeface="Times" panose="02020603050405020304" pitchFamily="18" charset="0"/>
                <a:buNone/>
              </a:pPr>
              <a:r>
                <a:rPr lang="en-US" altLang="de-DE" sz="1200" b="1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0th century</a:t>
              </a:r>
            </a:p>
          </p:txBody>
        </p:sp>
        <p:sp>
          <p:nvSpPr>
            <p:cNvPr id="76" name="Textfeld 81"/>
            <p:cNvSpPr txBox="1">
              <a:spLocks noChangeArrowheads="1"/>
            </p:cNvSpPr>
            <p:nvPr/>
          </p:nvSpPr>
          <p:spPr bwMode="auto">
            <a:xfrm>
              <a:off x="6420252" y="5749136"/>
              <a:ext cx="1446230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buFont typeface="Times" panose="02020603050405020304" pitchFamily="18" charset="0"/>
                <a:buNone/>
              </a:pPr>
              <a:r>
                <a:rPr lang="en-US" altLang="de-DE" sz="1200" b="1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eginning of the </a:t>
              </a:r>
            </a:p>
            <a:p>
              <a:pPr algn="ctr">
                <a:buFont typeface="Times" panose="02020603050405020304" pitchFamily="18" charset="0"/>
                <a:buNone/>
              </a:pPr>
              <a:r>
                <a:rPr lang="en-US" altLang="de-DE" sz="1200" b="1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70th</a:t>
              </a:r>
            </a:p>
          </p:txBody>
        </p:sp>
        <p:pic>
          <p:nvPicPr>
            <p:cNvPr id="77" name="Picture 2" descr="C:\Users\hodapp\Desktop\Ford_fertigung_1923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77761" y="2566074"/>
              <a:ext cx="1592262" cy="12430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" descr="C:\Users\hodapp\Desktop\643px-Dampfma_gr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22399" y="3434643"/>
              <a:ext cx="1368425" cy="12747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9" name="Picture 4" descr="C:\Users\hodapp\Desktop\Industrieroboter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75410" y="1472408"/>
              <a:ext cx="1435100" cy="1433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0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22369" y="1043902"/>
              <a:ext cx="1793875" cy="9477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1" name="Textfeld 15"/>
            <p:cNvSpPr txBox="1"/>
            <p:nvPr/>
          </p:nvSpPr>
          <p:spPr>
            <a:xfrm>
              <a:off x="2379376" y="5477719"/>
              <a:ext cx="1048685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buFont typeface="Times" pitchFamily="18" charset="0"/>
                <a:buNone/>
                <a:defRPr/>
              </a:pPr>
              <a:r>
                <a:rPr lang="en-US" sz="1200" b="1" kern="0" dirty="0">
                  <a:solidFill>
                    <a:sysClr val="window" lastClr="FFFFFF"/>
                  </a:solidFill>
                  <a:latin typeface="Segoe UI" panose="020B0502040204020203" pitchFamily="34" charset="0"/>
                  <a:ea typeface="ＭＳ Ｐゴシック" pitchFamily="1" charset="-128"/>
                  <a:cs typeface="Segoe UI" panose="020B0502040204020203" pitchFamily="34" charset="0"/>
                </a:rPr>
                <a:t>Industry 1.0</a:t>
              </a:r>
            </a:p>
          </p:txBody>
        </p:sp>
        <p:sp>
          <p:nvSpPr>
            <p:cNvPr id="82" name="Textfeld 16"/>
            <p:cNvSpPr txBox="1"/>
            <p:nvPr/>
          </p:nvSpPr>
          <p:spPr>
            <a:xfrm>
              <a:off x="6568618" y="5477666"/>
              <a:ext cx="1048685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buFont typeface="Times" pitchFamily="18" charset="0"/>
                <a:buNone/>
                <a:defRPr/>
              </a:pPr>
              <a:r>
                <a:rPr lang="en-US" sz="1200" b="1" kern="0" dirty="0">
                  <a:solidFill>
                    <a:sysClr val="window" lastClr="FFFFFF"/>
                  </a:solidFill>
                  <a:latin typeface="Segoe UI" panose="020B0502040204020203" pitchFamily="34" charset="0"/>
                  <a:ea typeface="ＭＳ Ｐゴシック" pitchFamily="1" charset="-128"/>
                  <a:cs typeface="Segoe UI" panose="020B0502040204020203" pitchFamily="34" charset="0"/>
                </a:rPr>
                <a:t>Industry 3.0</a:t>
              </a:r>
            </a:p>
          </p:txBody>
        </p:sp>
        <p:sp>
          <p:nvSpPr>
            <p:cNvPr id="83" name="Textfeld 17"/>
            <p:cNvSpPr txBox="1"/>
            <p:nvPr/>
          </p:nvSpPr>
          <p:spPr>
            <a:xfrm>
              <a:off x="4532194" y="5477718"/>
              <a:ext cx="1048685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buFont typeface="Times" pitchFamily="18" charset="0"/>
                <a:buNone/>
                <a:defRPr/>
              </a:pPr>
              <a:r>
                <a:rPr lang="en-US" sz="1200" b="1" kern="0" dirty="0">
                  <a:solidFill>
                    <a:sysClr val="window" lastClr="FFFFFF"/>
                  </a:solidFill>
                  <a:latin typeface="Segoe UI" panose="020B0502040204020203" pitchFamily="34" charset="0"/>
                  <a:ea typeface="ＭＳ Ｐゴシック" pitchFamily="1" charset="-128"/>
                  <a:cs typeface="Segoe UI" panose="020B0502040204020203" pitchFamily="34" charset="0"/>
                </a:rPr>
                <a:t>Industry 2.0</a:t>
              </a:r>
            </a:p>
          </p:txBody>
        </p:sp>
        <p:cxnSp>
          <p:nvCxnSpPr>
            <p:cNvPr id="84" name="Gerade Verbindung mit Pfeil 78"/>
            <p:cNvCxnSpPr>
              <a:cxnSpLocks noChangeShapeType="1"/>
            </p:cNvCxnSpPr>
            <p:nvPr/>
          </p:nvCxnSpPr>
          <p:spPr bwMode="auto">
            <a:xfrm>
              <a:off x="3965758" y="3895178"/>
              <a:ext cx="8505" cy="1860676"/>
            </a:xfrm>
            <a:prstGeom prst="straightConnector1">
              <a:avLst/>
            </a:prstGeom>
            <a:noFill/>
            <a:ln w="25400" cap="flat" cmpd="sng" algn="ctr">
              <a:solidFill>
                <a:srgbClr val="6DB3B3"/>
              </a:solidFill>
              <a:prstDash val="solid"/>
              <a:headEnd/>
              <a:tailEnd type="arrow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cxnSp>
          <p:nvCxnSpPr>
            <p:cNvPr id="85" name="Gerade Verbindung mit Pfeil 78"/>
            <p:cNvCxnSpPr>
              <a:cxnSpLocks noChangeShapeType="1"/>
            </p:cNvCxnSpPr>
            <p:nvPr/>
          </p:nvCxnSpPr>
          <p:spPr bwMode="auto">
            <a:xfrm>
              <a:off x="6091971" y="2965485"/>
              <a:ext cx="0" cy="2790369"/>
            </a:xfrm>
            <a:prstGeom prst="straightConnector1">
              <a:avLst/>
            </a:prstGeom>
            <a:noFill/>
            <a:ln w="25400" cap="flat" cmpd="sng" algn="ctr">
              <a:solidFill>
                <a:srgbClr val="6DB3B3"/>
              </a:solidFill>
              <a:prstDash val="solid"/>
              <a:headEnd/>
              <a:tailEnd type="arrow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cxnSp>
          <p:nvCxnSpPr>
            <p:cNvPr id="86" name="Gerade Verbindung mit Pfeil 78"/>
            <p:cNvCxnSpPr>
              <a:cxnSpLocks noChangeShapeType="1"/>
            </p:cNvCxnSpPr>
            <p:nvPr/>
          </p:nvCxnSpPr>
          <p:spPr bwMode="auto">
            <a:xfrm>
              <a:off x="1839543" y="4806028"/>
              <a:ext cx="0" cy="949826"/>
            </a:xfrm>
            <a:prstGeom prst="straightConnector1">
              <a:avLst/>
            </a:prstGeom>
            <a:noFill/>
            <a:ln w="9525" cap="flat" cmpd="sng" algn="ctr">
              <a:solidFill>
                <a:srgbClr val="6DB3B3"/>
              </a:solidFill>
              <a:prstDash val="solid"/>
              <a:headEnd/>
              <a:tailEnd type="arrow" w="med" len="med"/>
            </a:ln>
            <a:effectLst/>
          </p:spPr>
        </p:cxnSp>
        <p:sp>
          <p:nvSpPr>
            <p:cNvPr id="87" name="Textfeld 21"/>
            <p:cNvSpPr txBox="1"/>
            <p:nvPr/>
          </p:nvSpPr>
          <p:spPr>
            <a:xfrm>
              <a:off x="8481331" y="5472538"/>
              <a:ext cx="1048685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buFont typeface="Times" pitchFamily="18" charset="0"/>
                <a:buNone/>
                <a:defRPr/>
              </a:pPr>
              <a:r>
                <a:rPr lang="en-US" sz="1200" b="1" kern="0" dirty="0">
                  <a:solidFill>
                    <a:sysClr val="window" lastClr="FFFFFF"/>
                  </a:solidFill>
                  <a:latin typeface="Segoe UI" panose="020B0502040204020203" pitchFamily="34" charset="0"/>
                  <a:ea typeface="ＭＳ Ｐゴシック" pitchFamily="1" charset="-128"/>
                  <a:cs typeface="Segoe UI" panose="020B0502040204020203" pitchFamily="34" charset="0"/>
                </a:rPr>
                <a:t>Industry 4.0</a:t>
              </a:r>
            </a:p>
          </p:txBody>
        </p:sp>
        <p:cxnSp>
          <p:nvCxnSpPr>
            <p:cNvPr id="88" name="Gerade Verbindung mit Pfeil 83"/>
            <p:cNvCxnSpPr>
              <a:cxnSpLocks noChangeShapeType="1"/>
            </p:cNvCxnSpPr>
            <p:nvPr/>
          </p:nvCxnSpPr>
          <p:spPr bwMode="auto">
            <a:xfrm flipV="1">
              <a:off x="10054358" y="3084940"/>
              <a:ext cx="0" cy="811212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/>
              <a:tailEnd type="arrow" w="med" len="med"/>
            </a:ln>
            <a:effectLst/>
          </p:spPr>
        </p:cxnSp>
        <p:sp>
          <p:nvSpPr>
            <p:cNvPr id="89" name="Textfeld 84"/>
            <p:cNvSpPr txBox="1">
              <a:spLocks noChangeArrowheads="1"/>
            </p:cNvSpPr>
            <p:nvPr/>
          </p:nvSpPr>
          <p:spPr bwMode="auto">
            <a:xfrm rot="-5400000">
              <a:off x="9133608" y="4571293"/>
              <a:ext cx="1841500" cy="276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Font typeface="Times" panose="02020603050405020304" pitchFamily="18" charset="0"/>
                <a:buNone/>
              </a:pPr>
              <a:r>
                <a:rPr lang="de-DE" altLang="de-DE" sz="1200" b="1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vel of complexity</a:t>
              </a:r>
            </a:p>
          </p:txBody>
        </p:sp>
        <p:sp>
          <p:nvSpPr>
            <p:cNvPr id="90" name="Textfeld 82"/>
            <p:cNvSpPr txBox="1">
              <a:spLocks noChangeArrowheads="1"/>
            </p:cNvSpPr>
            <p:nvPr/>
          </p:nvSpPr>
          <p:spPr bwMode="auto">
            <a:xfrm>
              <a:off x="8705854" y="5760871"/>
              <a:ext cx="62690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Font typeface="Times" panose="02020603050405020304" pitchFamily="18" charset="0"/>
                <a:buNone/>
              </a:pPr>
              <a:r>
                <a:rPr lang="en-US" altLang="de-DE" sz="1200" b="1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oda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032909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C077A46-104C-4EE5-862F-D728635DA3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502901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A0885D89-0814-40C3-A39A-FD1C80354CA9}"/>
              </a:ext>
            </a:extLst>
          </p:cNvPr>
          <p:cNvGrpSpPr/>
          <p:nvPr/>
        </p:nvGrpSpPr>
        <p:grpSpPr>
          <a:xfrm>
            <a:off x="9356114" y="997527"/>
            <a:ext cx="3456452" cy="4260804"/>
            <a:chOff x="1890291" y="177563"/>
            <a:chExt cx="5219699" cy="6434375"/>
          </a:xfrm>
          <a:solidFill>
            <a:schemeClr val="bg1">
              <a:alpha val="8000"/>
            </a:schemeClr>
          </a:solidFill>
        </p:grpSpPr>
        <p:sp>
          <p:nvSpPr>
            <p:cNvPr id="22" name="Freeform 1703">
              <a:extLst>
                <a:ext uri="{FF2B5EF4-FFF2-40B4-BE49-F238E27FC236}">
                  <a16:creationId xmlns:a16="http://schemas.microsoft.com/office/drawing/2014/main" id="{E37E915D-9217-4718-824E-E600E3029F79}"/>
                </a:ext>
              </a:extLst>
            </p:cNvPr>
            <p:cNvSpPr>
              <a:spLocks/>
            </p:cNvSpPr>
            <p:nvPr/>
          </p:nvSpPr>
          <p:spPr bwMode="auto">
            <a:xfrm rot="1524162">
              <a:off x="1890291" y="3263395"/>
              <a:ext cx="5219699" cy="3130551"/>
            </a:xfrm>
            <a:custGeom>
              <a:avLst/>
              <a:gdLst>
                <a:gd name="T0" fmla="*/ 79 w 3288"/>
                <a:gd name="T1" fmla="*/ 119 h 1972"/>
                <a:gd name="T2" fmla="*/ 126 w 3288"/>
                <a:gd name="T3" fmla="*/ 352 h 1972"/>
                <a:gd name="T4" fmla="*/ 199 w 3288"/>
                <a:gd name="T5" fmla="*/ 576 h 1972"/>
                <a:gd name="T6" fmla="*/ 297 w 3288"/>
                <a:gd name="T7" fmla="*/ 791 h 1972"/>
                <a:gd name="T8" fmla="*/ 419 w 3288"/>
                <a:gd name="T9" fmla="*/ 994 h 1972"/>
                <a:gd name="T10" fmla="*/ 565 w 3288"/>
                <a:gd name="T11" fmla="*/ 1182 h 1972"/>
                <a:gd name="T12" fmla="*/ 732 w 3288"/>
                <a:gd name="T13" fmla="*/ 1354 h 1972"/>
                <a:gd name="T14" fmla="*/ 918 w 3288"/>
                <a:gd name="T15" fmla="*/ 1507 h 1972"/>
                <a:gd name="T16" fmla="*/ 1120 w 3288"/>
                <a:gd name="T17" fmla="*/ 1637 h 1972"/>
                <a:gd name="T18" fmla="*/ 1334 w 3288"/>
                <a:gd name="T19" fmla="*/ 1743 h 1972"/>
                <a:gd name="T20" fmla="*/ 1558 w 3288"/>
                <a:gd name="T21" fmla="*/ 1823 h 1972"/>
                <a:gd name="T22" fmla="*/ 1790 w 3288"/>
                <a:gd name="T23" fmla="*/ 1876 h 1972"/>
                <a:gd name="T24" fmla="*/ 2029 w 3288"/>
                <a:gd name="T25" fmla="*/ 1904 h 1972"/>
                <a:gd name="T26" fmla="*/ 2268 w 3288"/>
                <a:gd name="T27" fmla="*/ 1904 h 1972"/>
                <a:gd name="T28" fmla="*/ 2500 w 3288"/>
                <a:gd name="T29" fmla="*/ 1879 h 1972"/>
                <a:gd name="T30" fmla="*/ 2725 w 3288"/>
                <a:gd name="T31" fmla="*/ 1828 h 1972"/>
                <a:gd name="T32" fmla="*/ 2944 w 3288"/>
                <a:gd name="T33" fmla="*/ 1752 h 1972"/>
                <a:gd name="T34" fmla="*/ 3155 w 3288"/>
                <a:gd name="T35" fmla="*/ 1651 h 1972"/>
                <a:gd name="T36" fmla="*/ 3288 w 3288"/>
                <a:gd name="T37" fmla="*/ 1647 h 1972"/>
                <a:gd name="T38" fmla="*/ 3079 w 3288"/>
                <a:gd name="T39" fmla="*/ 1762 h 1972"/>
                <a:gd name="T40" fmla="*/ 2857 w 3288"/>
                <a:gd name="T41" fmla="*/ 1854 h 1972"/>
                <a:gd name="T42" fmla="*/ 2627 w 3288"/>
                <a:gd name="T43" fmla="*/ 1918 h 1972"/>
                <a:gd name="T44" fmla="*/ 2391 w 3288"/>
                <a:gd name="T45" fmla="*/ 1959 h 1972"/>
                <a:gd name="T46" fmla="*/ 2150 w 3288"/>
                <a:gd name="T47" fmla="*/ 1972 h 1972"/>
                <a:gd name="T48" fmla="*/ 1901 w 3288"/>
                <a:gd name="T49" fmla="*/ 1958 h 1972"/>
                <a:gd name="T50" fmla="*/ 1658 w 3288"/>
                <a:gd name="T51" fmla="*/ 1916 h 1972"/>
                <a:gd name="T52" fmla="*/ 1423 w 3288"/>
                <a:gd name="T53" fmla="*/ 1846 h 1972"/>
                <a:gd name="T54" fmla="*/ 1197 w 3288"/>
                <a:gd name="T55" fmla="*/ 1751 h 1972"/>
                <a:gd name="T56" fmla="*/ 983 w 3288"/>
                <a:gd name="T57" fmla="*/ 1629 h 1972"/>
                <a:gd name="T58" fmla="*/ 782 w 3288"/>
                <a:gd name="T59" fmla="*/ 1484 h 1972"/>
                <a:gd name="T60" fmla="*/ 600 w 3288"/>
                <a:gd name="T61" fmla="*/ 1315 h 1972"/>
                <a:gd name="T62" fmla="*/ 439 w 3288"/>
                <a:gd name="T63" fmla="*/ 1129 h 1972"/>
                <a:gd name="T64" fmla="*/ 300 w 3288"/>
                <a:gd name="T65" fmla="*/ 927 h 1972"/>
                <a:gd name="T66" fmla="*/ 187 w 3288"/>
                <a:gd name="T67" fmla="*/ 712 h 1972"/>
                <a:gd name="T68" fmla="*/ 98 w 3288"/>
                <a:gd name="T69" fmla="*/ 486 h 1972"/>
                <a:gd name="T70" fmla="*/ 35 w 3288"/>
                <a:gd name="T71" fmla="*/ 249 h 1972"/>
                <a:gd name="T72" fmla="*/ 0 w 3288"/>
                <a:gd name="T73" fmla="*/ 5 h 19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88" h="1972">
                  <a:moveTo>
                    <a:pt x="64" y="0"/>
                  </a:moveTo>
                  <a:lnTo>
                    <a:pt x="79" y="119"/>
                  </a:lnTo>
                  <a:lnTo>
                    <a:pt x="98" y="236"/>
                  </a:lnTo>
                  <a:lnTo>
                    <a:pt x="126" y="352"/>
                  </a:lnTo>
                  <a:lnTo>
                    <a:pt x="160" y="465"/>
                  </a:lnTo>
                  <a:lnTo>
                    <a:pt x="199" y="576"/>
                  </a:lnTo>
                  <a:lnTo>
                    <a:pt x="245" y="685"/>
                  </a:lnTo>
                  <a:lnTo>
                    <a:pt x="297" y="791"/>
                  </a:lnTo>
                  <a:lnTo>
                    <a:pt x="356" y="894"/>
                  </a:lnTo>
                  <a:lnTo>
                    <a:pt x="419" y="994"/>
                  </a:lnTo>
                  <a:lnTo>
                    <a:pt x="490" y="1089"/>
                  </a:lnTo>
                  <a:lnTo>
                    <a:pt x="565" y="1182"/>
                  </a:lnTo>
                  <a:lnTo>
                    <a:pt x="646" y="1270"/>
                  </a:lnTo>
                  <a:lnTo>
                    <a:pt x="732" y="1354"/>
                  </a:lnTo>
                  <a:lnTo>
                    <a:pt x="824" y="1434"/>
                  </a:lnTo>
                  <a:lnTo>
                    <a:pt x="918" y="1507"/>
                  </a:lnTo>
                  <a:lnTo>
                    <a:pt x="1018" y="1575"/>
                  </a:lnTo>
                  <a:lnTo>
                    <a:pt x="1120" y="1637"/>
                  </a:lnTo>
                  <a:lnTo>
                    <a:pt x="1225" y="1693"/>
                  </a:lnTo>
                  <a:lnTo>
                    <a:pt x="1334" y="1743"/>
                  </a:lnTo>
                  <a:lnTo>
                    <a:pt x="1445" y="1786"/>
                  </a:lnTo>
                  <a:lnTo>
                    <a:pt x="1558" y="1823"/>
                  </a:lnTo>
                  <a:lnTo>
                    <a:pt x="1673" y="1853"/>
                  </a:lnTo>
                  <a:lnTo>
                    <a:pt x="1790" y="1876"/>
                  </a:lnTo>
                  <a:lnTo>
                    <a:pt x="1909" y="1893"/>
                  </a:lnTo>
                  <a:lnTo>
                    <a:pt x="2029" y="1904"/>
                  </a:lnTo>
                  <a:lnTo>
                    <a:pt x="2150" y="1908"/>
                  </a:lnTo>
                  <a:lnTo>
                    <a:pt x="2268" y="1904"/>
                  </a:lnTo>
                  <a:lnTo>
                    <a:pt x="2384" y="1895"/>
                  </a:lnTo>
                  <a:lnTo>
                    <a:pt x="2500" y="1879"/>
                  </a:lnTo>
                  <a:lnTo>
                    <a:pt x="2612" y="1855"/>
                  </a:lnTo>
                  <a:lnTo>
                    <a:pt x="2725" y="1828"/>
                  </a:lnTo>
                  <a:lnTo>
                    <a:pt x="2836" y="1793"/>
                  </a:lnTo>
                  <a:lnTo>
                    <a:pt x="2944" y="1752"/>
                  </a:lnTo>
                  <a:lnTo>
                    <a:pt x="3050" y="1705"/>
                  </a:lnTo>
                  <a:lnTo>
                    <a:pt x="3155" y="1651"/>
                  </a:lnTo>
                  <a:lnTo>
                    <a:pt x="3254" y="1594"/>
                  </a:lnTo>
                  <a:lnTo>
                    <a:pt x="3288" y="1647"/>
                  </a:lnTo>
                  <a:lnTo>
                    <a:pt x="3185" y="1709"/>
                  </a:lnTo>
                  <a:lnTo>
                    <a:pt x="3079" y="1762"/>
                  </a:lnTo>
                  <a:lnTo>
                    <a:pt x="2969" y="1811"/>
                  </a:lnTo>
                  <a:lnTo>
                    <a:pt x="2857" y="1854"/>
                  </a:lnTo>
                  <a:lnTo>
                    <a:pt x="2743" y="1890"/>
                  </a:lnTo>
                  <a:lnTo>
                    <a:pt x="2627" y="1918"/>
                  </a:lnTo>
                  <a:lnTo>
                    <a:pt x="2510" y="1942"/>
                  </a:lnTo>
                  <a:lnTo>
                    <a:pt x="2391" y="1959"/>
                  </a:lnTo>
                  <a:lnTo>
                    <a:pt x="2272" y="1968"/>
                  </a:lnTo>
                  <a:lnTo>
                    <a:pt x="2150" y="1972"/>
                  </a:lnTo>
                  <a:lnTo>
                    <a:pt x="2025" y="1968"/>
                  </a:lnTo>
                  <a:lnTo>
                    <a:pt x="1901" y="1958"/>
                  </a:lnTo>
                  <a:lnTo>
                    <a:pt x="1779" y="1941"/>
                  </a:lnTo>
                  <a:lnTo>
                    <a:pt x="1658" y="1916"/>
                  </a:lnTo>
                  <a:lnTo>
                    <a:pt x="1539" y="1884"/>
                  </a:lnTo>
                  <a:lnTo>
                    <a:pt x="1423" y="1846"/>
                  </a:lnTo>
                  <a:lnTo>
                    <a:pt x="1309" y="1802"/>
                  </a:lnTo>
                  <a:lnTo>
                    <a:pt x="1197" y="1751"/>
                  </a:lnTo>
                  <a:lnTo>
                    <a:pt x="1089" y="1693"/>
                  </a:lnTo>
                  <a:lnTo>
                    <a:pt x="983" y="1629"/>
                  </a:lnTo>
                  <a:lnTo>
                    <a:pt x="880" y="1560"/>
                  </a:lnTo>
                  <a:lnTo>
                    <a:pt x="782" y="1484"/>
                  </a:lnTo>
                  <a:lnTo>
                    <a:pt x="688" y="1402"/>
                  </a:lnTo>
                  <a:lnTo>
                    <a:pt x="600" y="1315"/>
                  </a:lnTo>
                  <a:lnTo>
                    <a:pt x="516" y="1224"/>
                  </a:lnTo>
                  <a:lnTo>
                    <a:pt x="439" y="1129"/>
                  </a:lnTo>
                  <a:lnTo>
                    <a:pt x="367" y="1030"/>
                  </a:lnTo>
                  <a:lnTo>
                    <a:pt x="300" y="927"/>
                  </a:lnTo>
                  <a:lnTo>
                    <a:pt x="241" y="821"/>
                  </a:lnTo>
                  <a:lnTo>
                    <a:pt x="187" y="712"/>
                  </a:lnTo>
                  <a:lnTo>
                    <a:pt x="139" y="600"/>
                  </a:lnTo>
                  <a:lnTo>
                    <a:pt x="98" y="486"/>
                  </a:lnTo>
                  <a:lnTo>
                    <a:pt x="63" y="368"/>
                  </a:lnTo>
                  <a:lnTo>
                    <a:pt x="35" y="249"/>
                  </a:lnTo>
                  <a:lnTo>
                    <a:pt x="14" y="128"/>
                  </a:lnTo>
                  <a:lnTo>
                    <a:pt x="0" y="5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705">
              <a:extLst>
                <a:ext uri="{FF2B5EF4-FFF2-40B4-BE49-F238E27FC236}">
                  <a16:creationId xmlns:a16="http://schemas.microsoft.com/office/drawing/2014/main" id="{DEB1DC28-F38B-45A8-84A0-8A18A9411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400" y="1330325"/>
              <a:ext cx="2546350" cy="5281613"/>
            </a:xfrm>
            <a:custGeom>
              <a:avLst/>
              <a:gdLst>
                <a:gd name="T0" fmla="*/ 529 w 1604"/>
                <a:gd name="T1" fmla="*/ 41 h 3327"/>
                <a:gd name="T2" fmla="*/ 393 w 1604"/>
                <a:gd name="T3" fmla="*/ 224 h 3327"/>
                <a:gd name="T4" fmla="*/ 279 w 1604"/>
                <a:gd name="T5" fmla="*/ 419 h 3327"/>
                <a:gd name="T6" fmla="*/ 188 w 1604"/>
                <a:gd name="T7" fmla="*/ 626 h 3327"/>
                <a:gd name="T8" fmla="*/ 122 w 1604"/>
                <a:gd name="T9" fmla="*/ 841 h 3327"/>
                <a:gd name="T10" fmla="*/ 81 w 1604"/>
                <a:gd name="T11" fmla="*/ 1062 h 3327"/>
                <a:gd name="T12" fmla="*/ 64 w 1604"/>
                <a:gd name="T13" fmla="*/ 1290 h 3327"/>
                <a:gd name="T14" fmla="*/ 73 w 1604"/>
                <a:gd name="T15" fmla="*/ 1519 h 3327"/>
                <a:gd name="T16" fmla="*/ 108 w 1604"/>
                <a:gd name="T17" fmla="*/ 1746 h 3327"/>
                <a:gd name="T18" fmla="*/ 170 w 1604"/>
                <a:gd name="T19" fmla="*/ 1964 h 3327"/>
                <a:gd name="T20" fmla="*/ 255 w 1604"/>
                <a:gd name="T21" fmla="*/ 2175 h 3327"/>
                <a:gd name="T22" fmla="*/ 364 w 1604"/>
                <a:gd name="T23" fmla="*/ 2374 h 3327"/>
                <a:gd name="T24" fmla="*/ 495 w 1604"/>
                <a:gd name="T25" fmla="*/ 2560 h 3327"/>
                <a:gd name="T26" fmla="*/ 648 w 1604"/>
                <a:gd name="T27" fmla="*/ 2732 h 3327"/>
                <a:gd name="T28" fmla="*/ 815 w 1604"/>
                <a:gd name="T29" fmla="*/ 2881 h 3327"/>
                <a:gd name="T30" fmla="*/ 995 w 1604"/>
                <a:gd name="T31" fmla="*/ 3009 h 3327"/>
                <a:gd name="T32" fmla="*/ 1188 w 1604"/>
                <a:gd name="T33" fmla="*/ 3117 h 3327"/>
                <a:gd name="T34" fmla="*/ 1392 w 1604"/>
                <a:gd name="T35" fmla="*/ 3202 h 3327"/>
                <a:gd name="T36" fmla="*/ 1604 w 1604"/>
                <a:gd name="T37" fmla="*/ 3265 h 3327"/>
                <a:gd name="T38" fmla="*/ 1479 w 1604"/>
                <a:gd name="T39" fmla="*/ 3297 h 3327"/>
                <a:gd name="T40" fmla="*/ 1264 w 1604"/>
                <a:gd name="T41" fmla="*/ 3221 h 3327"/>
                <a:gd name="T42" fmla="*/ 1058 w 1604"/>
                <a:gd name="T43" fmla="*/ 3122 h 3327"/>
                <a:gd name="T44" fmla="*/ 866 w 1604"/>
                <a:gd name="T45" fmla="*/ 3000 h 3327"/>
                <a:gd name="T46" fmla="*/ 686 w 1604"/>
                <a:gd name="T47" fmla="*/ 2857 h 3327"/>
                <a:gd name="T48" fmla="*/ 521 w 1604"/>
                <a:gd name="T49" fmla="*/ 2691 h 3327"/>
                <a:gd name="T50" fmla="*/ 374 w 1604"/>
                <a:gd name="T51" fmla="*/ 2506 h 3327"/>
                <a:gd name="T52" fmla="*/ 250 w 1604"/>
                <a:gd name="T53" fmla="*/ 2306 h 3327"/>
                <a:gd name="T54" fmla="*/ 149 w 1604"/>
                <a:gd name="T55" fmla="*/ 2095 h 3327"/>
                <a:gd name="T56" fmla="*/ 74 w 1604"/>
                <a:gd name="T57" fmla="*/ 1873 h 3327"/>
                <a:gd name="T58" fmla="*/ 25 w 1604"/>
                <a:gd name="T59" fmla="*/ 1643 h 3327"/>
                <a:gd name="T60" fmla="*/ 1 w 1604"/>
                <a:gd name="T61" fmla="*/ 1406 h 3327"/>
                <a:gd name="T62" fmla="*/ 5 w 1604"/>
                <a:gd name="T63" fmla="*/ 1171 h 3327"/>
                <a:gd name="T64" fmla="*/ 35 w 1604"/>
                <a:gd name="T65" fmla="*/ 939 h 3327"/>
                <a:gd name="T66" fmla="*/ 90 w 1604"/>
                <a:gd name="T67" fmla="*/ 712 h 3327"/>
                <a:gd name="T68" fmla="*/ 171 w 1604"/>
                <a:gd name="T69" fmla="*/ 495 h 3327"/>
                <a:gd name="T70" fmla="*/ 277 w 1604"/>
                <a:gd name="T71" fmla="*/ 288 h 3327"/>
                <a:gd name="T72" fmla="*/ 406 w 1604"/>
                <a:gd name="T73" fmla="*/ 92 h 3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04" h="3327">
                  <a:moveTo>
                    <a:pt x="479" y="0"/>
                  </a:moveTo>
                  <a:lnTo>
                    <a:pt x="529" y="41"/>
                  </a:lnTo>
                  <a:lnTo>
                    <a:pt x="458" y="131"/>
                  </a:lnTo>
                  <a:lnTo>
                    <a:pt x="393" y="224"/>
                  </a:lnTo>
                  <a:lnTo>
                    <a:pt x="332" y="320"/>
                  </a:lnTo>
                  <a:lnTo>
                    <a:pt x="279" y="419"/>
                  </a:lnTo>
                  <a:lnTo>
                    <a:pt x="230" y="521"/>
                  </a:lnTo>
                  <a:lnTo>
                    <a:pt x="188" y="626"/>
                  </a:lnTo>
                  <a:lnTo>
                    <a:pt x="153" y="732"/>
                  </a:lnTo>
                  <a:lnTo>
                    <a:pt x="122" y="841"/>
                  </a:lnTo>
                  <a:lnTo>
                    <a:pt x="98" y="951"/>
                  </a:lnTo>
                  <a:lnTo>
                    <a:pt x="81" y="1062"/>
                  </a:lnTo>
                  <a:lnTo>
                    <a:pt x="69" y="1176"/>
                  </a:lnTo>
                  <a:lnTo>
                    <a:pt x="64" y="1290"/>
                  </a:lnTo>
                  <a:lnTo>
                    <a:pt x="65" y="1404"/>
                  </a:lnTo>
                  <a:lnTo>
                    <a:pt x="73" y="1519"/>
                  </a:lnTo>
                  <a:lnTo>
                    <a:pt x="87" y="1633"/>
                  </a:lnTo>
                  <a:lnTo>
                    <a:pt x="108" y="1746"/>
                  </a:lnTo>
                  <a:lnTo>
                    <a:pt x="136" y="1856"/>
                  </a:lnTo>
                  <a:lnTo>
                    <a:pt x="170" y="1964"/>
                  </a:lnTo>
                  <a:lnTo>
                    <a:pt x="209" y="2070"/>
                  </a:lnTo>
                  <a:lnTo>
                    <a:pt x="255" y="2175"/>
                  </a:lnTo>
                  <a:lnTo>
                    <a:pt x="306" y="2276"/>
                  </a:lnTo>
                  <a:lnTo>
                    <a:pt x="364" y="2374"/>
                  </a:lnTo>
                  <a:lnTo>
                    <a:pt x="427" y="2468"/>
                  </a:lnTo>
                  <a:lnTo>
                    <a:pt x="495" y="2560"/>
                  </a:lnTo>
                  <a:lnTo>
                    <a:pt x="570" y="2648"/>
                  </a:lnTo>
                  <a:lnTo>
                    <a:pt x="648" y="2732"/>
                  </a:lnTo>
                  <a:lnTo>
                    <a:pt x="729" y="2809"/>
                  </a:lnTo>
                  <a:lnTo>
                    <a:pt x="815" y="2881"/>
                  </a:lnTo>
                  <a:lnTo>
                    <a:pt x="902" y="2948"/>
                  </a:lnTo>
                  <a:lnTo>
                    <a:pt x="995" y="3009"/>
                  </a:lnTo>
                  <a:lnTo>
                    <a:pt x="1090" y="3066"/>
                  </a:lnTo>
                  <a:lnTo>
                    <a:pt x="1188" y="3117"/>
                  </a:lnTo>
                  <a:lnTo>
                    <a:pt x="1289" y="3162"/>
                  </a:lnTo>
                  <a:lnTo>
                    <a:pt x="1392" y="3202"/>
                  </a:lnTo>
                  <a:lnTo>
                    <a:pt x="1497" y="3236"/>
                  </a:lnTo>
                  <a:lnTo>
                    <a:pt x="1604" y="3265"/>
                  </a:lnTo>
                  <a:lnTo>
                    <a:pt x="1590" y="3327"/>
                  </a:lnTo>
                  <a:lnTo>
                    <a:pt x="1479" y="3297"/>
                  </a:lnTo>
                  <a:lnTo>
                    <a:pt x="1370" y="3263"/>
                  </a:lnTo>
                  <a:lnTo>
                    <a:pt x="1264" y="3221"/>
                  </a:lnTo>
                  <a:lnTo>
                    <a:pt x="1159" y="3174"/>
                  </a:lnTo>
                  <a:lnTo>
                    <a:pt x="1058" y="3122"/>
                  </a:lnTo>
                  <a:lnTo>
                    <a:pt x="960" y="3064"/>
                  </a:lnTo>
                  <a:lnTo>
                    <a:pt x="866" y="3000"/>
                  </a:lnTo>
                  <a:lnTo>
                    <a:pt x="774" y="2931"/>
                  </a:lnTo>
                  <a:lnTo>
                    <a:pt x="686" y="2857"/>
                  </a:lnTo>
                  <a:lnTo>
                    <a:pt x="602" y="2777"/>
                  </a:lnTo>
                  <a:lnTo>
                    <a:pt x="521" y="2691"/>
                  </a:lnTo>
                  <a:lnTo>
                    <a:pt x="444" y="2601"/>
                  </a:lnTo>
                  <a:lnTo>
                    <a:pt x="374" y="2506"/>
                  </a:lnTo>
                  <a:lnTo>
                    <a:pt x="309" y="2408"/>
                  </a:lnTo>
                  <a:lnTo>
                    <a:pt x="250" y="2306"/>
                  </a:lnTo>
                  <a:lnTo>
                    <a:pt x="196" y="2203"/>
                  </a:lnTo>
                  <a:lnTo>
                    <a:pt x="149" y="2095"/>
                  </a:lnTo>
                  <a:lnTo>
                    <a:pt x="108" y="1985"/>
                  </a:lnTo>
                  <a:lnTo>
                    <a:pt x="74" y="1873"/>
                  </a:lnTo>
                  <a:lnTo>
                    <a:pt x="46" y="1759"/>
                  </a:lnTo>
                  <a:lnTo>
                    <a:pt x="25" y="1643"/>
                  </a:lnTo>
                  <a:lnTo>
                    <a:pt x="9" y="1526"/>
                  </a:lnTo>
                  <a:lnTo>
                    <a:pt x="1" y="1406"/>
                  </a:lnTo>
                  <a:lnTo>
                    <a:pt x="0" y="1289"/>
                  </a:lnTo>
                  <a:lnTo>
                    <a:pt x="5" y="1171"/>
                  </a:lnTo>
                  <a:lnTo>
                    <a:pt x="17" y="1054"/>
                  </a:lnTo>
                  <a:lnTo>
                    <a:pt x="35" y="939"/>
                  </a:lnTo>
                  <a:lnTo>
                    <a:pt x="60" y="825"/>
                  </a:lnTo>
                  <a:lnTo>
                    <a:pt x="90" y="712"/>
                  </a:lnTo>
                  <a:lnTo>
                    <a:pt x="128" y="602"/>
                  </a:lnTo>
                  <a:lnTo>
                    <a:pt x="171" y="495"/>
                  </a:lnTo>
                  <a:lnTo>
                    <a:pt x="221" y="390"/>
                  </a:lnTo>
                  <a:lnTo>
                    <a:pt x="277" y="288"/>
                  </a:lnTo>
                  <a:lnTo>
                    <a:pt x="339" y="189"/>
                  </a:lnTo>
                  <a:lnTo>
                    <a:pt x="406" y="92"/>
                  </a:lnTo>
                  <a:lnTo>
                    <a:pt x="4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707">
              <a:extLst>
                <a:ext uri="{FF2B5EF4-FFF2-40B4-BE49-F238E27FC236}">
                  <a16:creationId xmlns:a16="http://schemas.microsoft.com/office/drawing/2014/main" id="{8255C37E-21A9-450A-AA05-D7742C7C2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0213" y="998538"/>
              <a:ext cx="1871663" cy="5268913"/>
            </a:xfrm>
            <a:custGeom>
              <a:avLst/>
              <a:gdLst>
                <a:gd name="T0" fmla="*/ 773 w 1179"/>
                <a:gd name="T1" fmla="*/ 51 h 3319"/>
                <a:gd name="T2" fmla="*/ 599 w 1179"/>
                <a:gd name="T3" fmla="*/ 209 h 3319"/>
                <a:gd name="T4" fmla="*/ 447 w 1179"/>
                <a:gd name="T5" fmla="*/ 386 h 3319"/>
                <a:gd name="T6" fmla="*/ 319 w 1179"/>
                <a:gd name="T7" fmla="*/ 580 h 3319"/>
                <a:gd name="T8" fmla="*/ 215 w 1179"/>
                <a:gd name="T9" fmla="*/ 787 h 3319"/>
                <a:gd name="T10" fmla="*/ 138 w 1179"/>
                <a:gd name="T11" fmla="*/ 1008 h 3319"/>
                <a:gd name="T12" fmla="*/ 87 w 1179"/>
                <a:gd name="T13" fmla="*/ 1237 h 3319"/>
                <a:gd name="T14" fmla="*/ 66 w 1179"/>
                <a:gd name="T15" fmla="*/ 1474 h 3319"/>
                <a:gd name="T16" fmla="*/ 72 w 1179"/>
                <a:gd name="T17" fmla="*/ 1708 h 3319"/>
                <a:gd name="T18" fmla="*/ 109 w 1179"/>
                <a:gd name="T19" fmla="*/ 1940 h 3319"/>
                <a:gd name="T20" fmla="*/ 173 w 1179"/>
                <a:gd name="T21" fmla="*/ 2165 h 3319"/>
                <a:gd name="T22" fmla="*/ 266 w 1179"/>
                <a:gd name="T23" fmla="*/ 2382 h 3319"/>
                <a:gd name="T24" fmla="*/ 385 w 1179"/>
                <a:gd name="T25" fmla="*/ 2586 h 3319"/>
                <a:gd name="T26" fmla="*/ 528 w 1179"/>
                <a:gd name="T27" fmla="*/ 2773 h 3319"/>
                <a:gd name="T28" fmla="*/ 692 w 1179"/>
                <a:gd name="T29" fmla="*/ 2941 h 3319"/>
                <a:gd name="T30" fmla="*/ 874 w 1179"/>
                <a:gd name="T31" fmla="*/ 3086 h 3319"/>
                <a:gd name="T32" fmla="*/ 1075 w 1179"/>
                <a:gd name="T33" fmla="*/ 3209 h 3319"/>
                <a:gd name="T34" fmla="*/ 1153 w 1179"/>
                <a:gd name="T35" fmla="*/ 3319 h 3319"/>
                <a:gd name="T36" fmla="*/ 959 w 1179"/>
                <a:gd name="T37" fmla="*/ 3218 h 3319"/>
                <a:gd name="T38" fmla="*/ 778 w 1179"/>
                <a:gd name="T39" fmla="*/ 3096 h 3319"/>
                <a:gd name="T40" fmla="*/ 613 w 1179"/>
                <a:gd name="T41" fmla="*/ 2956 h 3319"/>
                <a:gd name="T42" fmla="*/ 464 w 1179"/>
                <a:gd name="T43" fmla="*/ 2798 h 3319"/>
                <a:gd name="T44" fmla="*/ 332 w 1179"/>
                <a:gd name="T45" fmla="*/ 2622 h 3319"/>
                <a:gd name="T46" fmla="*/ 209 w 1179"/>
                <a:gd name="T47" fmla="*/ 2410 h 3319"/>
                <a:gd name="T48" fmla="*/ 113 w 1179"/>
                <a:gd name="T49" fmla="*/ 2186 h 3319"/>
                <a:gd name="T50" fmla="*/ 46 w 1179"/>
                <a:gd name="T51" fmla="*/ 1953 h 3319"/>
                <a:gd name="T52" fmla="*/ 8 w 1179"/>
                <a:gd name="T53" fmla="*/ 1715 h 3319"/>
                <a:gd name="T54" fmla="*/ 0 w 1179"/>
                <a:gd name="T55" fmla="*/ 1471 h 3319"/>
                <a:gd name="T56" fmla="*/ 24 w 1179"/>
                <a:gd name="T57" fmla="*/ 1228 h 3319"/>
                <a:gd name="T58" fmla="*/ 71 w 1179"/>
                <a:gd name="T59" fmla="*/ 1008 h 3319"/>
                <a:gd name="T60" fmla="*/ 142 w 1179"/>
                <a:gd name="T61" fmla="*/ 796 h 3319"/>
                <a:gd name="T62" fmla="*/ 236 w 1179"/>
                <a:gd name="T63" fmla="*/ 595 h 3319"/>
                <a:gd name="T64" fmla="*/ 353 w 1179"/>
                <a:gd name="T65" fmla="*/ 407 h 3319"/>
                <a:gd name="T66" fmla="*/ 490 w 1179"/>
                <a:gd name="T67" fmla="*/ 231 h 3319"/>
                <a:gd name="T68" fmla="*/ 647 w 1179"/>
                <a:gd name="T69" fmla="*/ 73 h 3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79" h="3319">
                  <a:moveTo>
                    <a:pt x="733" y="0"/>
                  </a:moveTo>
                  <a:lnTo>
                    <a:pt x="773" y="51"/>
                  </a:lnTo>
                  <a:lnTo>
                    <a:pt x="684" y="127"/>
                  </a:lnTo>
                  <a:lnTo>
                    <a:pt x="599" y="209"/>
                  </a:lnTo>
                  <a:lnTo>
                    <a:pt x="520" y="295"/>
                  </a:lnTo>
                  <a:lnTo>
                    <a:pt x="447" y="386"/>
                  </a:lnTo>
                  <a:lnTo>
                    <a:pt x="380" y="480"/>
                  </a:lnTo>
                  <a:lnTo>
                    <a:pt x="319" y="580"/>
                  </a:lnTo>
                  <a:lnTo>
                    <a:pt x="265" y="682"/>
                  </a:lnTo>
                  <a:lnTo>
                    <a:pt x="215" y="787"/>
                  </a:lnTo>
                  <a:lnTo>
                    <a:pt x="173" y="895"/>
                  </a:lnTo>
                  <a:lnTo>
                    <a:pt x="138" y="1008"/>
                  </a:lnTo>
                  <a:lnTo>
                    <a:pt x="109" y="1122"/>
                  </a:lnTo>
                  <a:lnTo>
                    <a:pt x="87" y="1237"/>
                  </a:lnTo>
                  <a:lnTo>
                    <a:pt x="72" y="1356"/>
                  </a:lnTo>
                  <a:lnTo>
                    <a:pt x="66" y="1474"/>
                  </a:lnTo>
                  <a:lnTo>
                    <a:pt x="66" y="1592"/>
                  </a:lnTo>
                  <a:lnTo>
                    <a:pt x="72" y="1708"/>
                  </a:lnTo>
                  <a:lnTo>
                    <a:pt x="87" y="1825"/>
                  </a:lnTo>
                  <a:lnTo>
                    <a:pt x="109" y="1940"/>
                  </a:lnTo>
                  <a:lnTo>
                    <a:pt x="138" y="2053"/>
                  </a:lnTo>
                  <a:lnTo>
                    <a:pt x="173" y="2165"/>
                  </a:lnTo>
                  <a:lnTo>
                    <a:pt x="216" y="2274"/>
                  </a:lnTo>
                  <a:lnTo>
                    <a:pt x="266" y="2382"/>
                  </a:lnTo>
                  <a:lnTo>
                    <a:pt x="323" y="2485"/>
                  </a:lnTo>
                  <a:lnTo>
                    <a:pt x="385" y="2586"/>
                  </a:lnTo>
                  <a:lnTo>
                    <a:pt x="454" y="2683"/>
                  </a:lnTo>
                  <a:lnTo>
                    <a:pt x="528" y="2773"/>
                  </a:lnTo>
                  <a:lnTo>
                    <a:pt x="607" y="2859"/>
                  </a:lnTo>
                  <a:lnTo>
                    <a:pt x="692" y="2941"/>
                  </a:lnTo>
                  <a:lnTo>
                    <a:pt x="781" y="3017"/>
                  </a:lnTo>
                  <a:lnTo>
                    <a:pt x="874" y="3086"/>
                  </a:lnTo>
                  <a:lnTo>
                    <a:pt x="972" y="3150"/>
                  </a:lnTo>
                  <a:lnTo>
                    <a:pt x="1075" y="3209"/>
                  </a:lnTo>
                  <a:lnTo>
                    <a:pt x="1179" y="3260"/>
                  </a:lnTo>
                  <a:lnTo>
                    <a:pt x="1153" y="3319"/>
                  </a:lnTo>
                  <a:lnTo>
                    <a:pt x="1055" y="3272"/>
                  </a:lnTo>
                  <a:lnTo>
                    <a:pt x="959" y="3218"/>
                  </a:lnTo>
                  <a:lnTo>
                    <a:pt x="868" y="3159"/>
                  </a:lnTo>
                  <a:lnTo>
                    <a:pt x="778" y="3096"/>
                  </a:lnTo>
                  <a:lnTo>
                    <a:pt x="695" y="3028"/>
                  </a:lnTo>
                  <a:lnTo>
                    <a:pt x="613" y="2956"/>
                  </a:lnTo>
                  <a:lnTo>
                    <a:pt x="536" y="2879"/>
                  </a:lnTo>
                  <a:lnTo>
                    <a:pt x="464" y="2798"/>
                  </a:lnTo>
                  <a:lnTo>
                    <a:pt x="395" y="2712"/>
                  </a:lnTo>
                  <a:lnTo>
                    <a:pt x="332" y="2622"/>
                  </a:lnTo>
                  <a:lnTo>
                    <a:pt x="266" y="2518"/>
                  </a:lnTo>
                  <a:lnTo>
                    <a:pt x="209" y="2410"/>
                  </a:lnTo>
                  <a:lnTo>
                    <a:pt x="156" y="2299"/>
                  </a:lnTo>
                  <a:lnTo>
                    <a:pt x="113" y="2186"/>
                  </a:lnTo>
                  <a:lnTo>
                    <a:pt x="75" y="2071"/>
                  </a:lnTo>
                  <a:lnTo>
                    <a:pt x="46" y="1953"/>
                  </a:lnTo>
                  <a:lnTo>
                    <a:pt x="24" y="1835"/>
                  </a:lnTo>
                  <a:lnTo>
                    <a:pt x="8" y="1715"/>
                  </a:lnTo>
                  <a:lnTo>
                    <a:pt x="0" y="1593"/>
                  </a:lnTo>
                  <a:lnTo>
                    <a:pt x="0" y="1471"/>
                  </a:lnTo>
                  <a:lnTo>
                    <a:pt x="8" y="1350"/>
                  </a:lnTo>
                  <a:lnTo>
                    <a:pt x="24" y="1228"/>
                  </a:lnTo>
                  <a:lnTo>
                    <a:pt x="44" y="1117"/>
                  </a:lnTo>
                  <a:lnTo>
                    <a:pt x="71" y="1008"/>
                  </a:lnTo>
                  <a:lnTo>
                    <a:pt x="104" y="900"/>
                  </a:lnTo>
                  <a:lnTo>
                    <a:pt x="142" y="796"/>
                  </a:lnTo>
                  <a:lnTo>
                    <a:pt x="186" y="694"/>
                  </a:lnTo>
                  <a:lnTo>
                    <a:pt x="236" y="595"/>
                  </a:lnTo>
                  <a:lnTo>
                    <a:pt x="292" y="500"/>
                  </a:lnTo>
                  <a:lnTo>
                    <a:pt x="353" y="407"/>
                  </a:lnTo>
                  <a:lnTo>
                    <a:pt x="418" y="318"/>
                  </a:lnTo>
                  <a:lnTo>
                    <a:pt x="490" y="231"/>
                  </a:lnTo>
                  <a:lnTo>
                    <a:pt x="566" y="150"/>
                  </a:lnTo>
                  <a:lnTo>
                    <a:pt x="647" y="73"/>
                  </a:lnTo>
                  <a:lnTo>
                    <a:pt x="7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708">
              <a:extLst>
                <a:ext uri="{FF2B5EF4-FFF2-40B4-BE49-F238E27FC236}">
                  <a16:creationId xmlns:a16="http://schemas.microsoft.com/office/drawing/2014/main" id="{FEA7159B-EB48-4E15-AF69-A918233A51D7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2037378" y="1414224"/>
              <a:ext cx="5440361" cy="2967040"/>
            </a:xfrm>
            <a:custGeom>
              <a:avLst/>
              <a:gdLst>
                <a:gd name="T0" fmla="*/ 2009 w 3427"/>
                <a:gd name="T1" fmla="*/ 6 h 1869"/>
                <a:gd name="T2" fmla="*/ 2235 w 3427"/>
                <a:gd name="T3" fmla="*/ 37 h 1869"/>
                <a:gd name="T4" fmla="*/ 2457 w 3427"/>
                <a:gd name="T5" fmla="*/ 95 h 1869"/>
                <a:gd name="T6" fmla="*/ 2668 w 3427"/>
                <a:gd name="T7" fmla="*/ 177 h 1869"/>
                <a:gd name="T8" fmla="*/ 2864 w 3427"/>
                <a:gd name="T9" fmla="*/ 284 h 1869"/>
                <a:gd name="T10" fmla="*/ 3046 w 3427"/>
                <a:gd name="T11" fmla="*/ 414 h 1869"/>
                <a:gd name="T12" fmla="*/ 3213 w 3427"/>
                <a:gd name="T13" fmla="*/ 566 h 1869"/>
                <a:gd name="T14" fmla="*/ 3361 w 3427"/>
                <a:gd name="T15" fmla="*/ 738 h 1869"/>
                <a:gd name="T16" fmla="*/ 3374 w 3427"/>
                <a:gd name="T17" fmla="*/ 867 h 1869"/>
                <a:gd name="T18" fmla="*/ 3240 w 3427"/>
                <a:gd name="T19" fmla="*/ 692 h 1869"/>
                <a:gd name="T20" fmla="*/ 3088 w 3427"/>
                <a:gd name="T21" fmla="*/ 535 h 1869"/>
                <a:gd name="T22" fmla="*/ 2919 w 3427"/>
                <a:gd name="T23" fmla="*/ 400 h 1869"/>
                <a:gd name="T24" fmla="*/ 2736 w 3427"/>
                <a:gd name="T25" fmla="*/ 284 h 1869"/>
                <a:gd name="T26" fmla="*/ 2539 w 3427"/>
                <a:gd name="T27" fmla="*/ 193 h 1869"/>
                <a:gd name="T28" fmla="*/ 2331 w 3427"/>
                <a:gd name="T29" fmla="*/ 125 h 1869"/>
                <a:gd name="T30" fmla="*/ 2113 w 3427"/>
                <a:gd name="T31" fmla="*/ 82 h 1869"/>
                <a:gd name="T32" fmla="*/ 1895 w 3427"/>
                <a:gd name="T33" fmla="*/ 64 h 1869"/>
                <a:gd name="T34" fmla="*/ 1678 w 3427"/>
                <a:gd name="T35" fmla="*/ 75 h 1869"/>
                <a:gd name="T36" fmla="*/ 1465 w 3427"/>
                <a:gd name="T37" fmla="*/ 110 h 1869"/>
                <a:gd name="T38" fmla="*/ 1258 w 3427"/>
                <a:gd name="T39" fmla="*/ 172 h 1869"/>
                <a:gd name="T40" fmla="*/ 1058 w 3427"/>
                <a:gd name="T41" fmla="*/ 258 h 1869"/>
                <a:gd name="T42" fmla="*/ 868 w 3427"/>
                <a:gd name="T43" fmla="*/ 370 h 1869"/>
                <a:gd name="T44" fmla="*/ 688 w 3427"/>
                <a:gd name="T45" fmla="*/ 506 h 1869"/>
                <a:gd name="T46" fmla="*/ 531 w 3427"/>
                <a:gd name="T47" fmla="*/ 660 h 1869"/>
                <a:gd name="T48" fmla="*/ 393 w 3427"/>
                <a:gd name="T49" fmla="*/ 832 h 1869"/>
                <a:gd name="T50" fmla="*/ 278 w 3427"/>
                <a:gd name="T51" fmla="*/ 1019 h 1869"/>
                <a:gd name="T52" fmla="*/ 186 w 3427"/>
                <a:gd name="T53" fmla="*/ 1218 h 1869"/>
                <a:gd name="T54" fmla="*/ 120 w 3427"/>
                <a:gd name="T55" fmla="*/ 1428 h 1869"/>
                <a:gd name="T56" fmla="*/ 79 w 3427"/>
                <a:gd name="T57" fmla="*/ 1645 h 1869"/>
                <a:gd name="T58" fmla="*/ 65 w 3427"/>
                <a:gd name="T59" fmla="*/ 1869 h 1869"/>
                <a:gd name="T60" fmla="*/ 4 w 3427"/>
                <a:gd name="T61" fmla="*/ 1752 h 1869"/>
                <a:gd name="T62" fmla="*/ 33 w 3427"/>
                <a:gd name="T63" fmla="*/ 1523 h 1869"/>
                <a:gd name="T64" fmla="*/ 88 w 3427"/>
                <a:gd name="T65" fmla="*/ 1302 h 1869"/>
                <a:gd name="T66" fmla="*/ 171 w 3427"/>
                <a:gd name="T67" fmla="*/ 1090 h 1869"/>
                <a:gd name="T68" fmla="*/ 278 w 3427"/>
                <a:gd name="T69" fmla="*/ 889 h 1869"/>
                <a:gd name="T70" fmla="*/ 409 w 3427"/>
                <a:gd name="T71" fmla="*/ 705 h 1869"/>
                <a:gd name="T72" fmla="*/ 562 w 3427"/>
                <a:gd name="T73" fmla="*/ 535 h 1869"/>
                <a:gd name="T74" fmla="*/ 737 w 3427"/>
                <a:gd name="T75" fmla="*/ 384 h 1869"/>
                <a:gd name="T76" fmla="*/ 929 w 3427"/>
                <a:gd name="T77" fmla="*/ 256 h 1869"/>
                <a:gd name="T78" fmla="*/ 1131 w 3427"/>
                <a:gd name="T79" fmla="*/ 152 h 1869"/>
                <a:gd name="T80" fmla="*/ 1342 w 3427"/>
                <a:gd name="T81" fmla="*/ 76 h 1869"/>
                <a:gd name="T82" fmla="*/ 1561 w 3427"/>
                <a:gd name="T83" fmla="*/ 25 h 1869"/>
                <a:gd name="T84" fmla="*/ 1783 w 3427"/>
                <a:gd name="T85" fmla="*/ 2 h 1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27" h="1869">
                  <a:moveTo>
                    <a:pt x="1896" y="0"/>
                  </a:moveTo>
                  <a:lnTo>
                    <a:pt x="2009" y="6"/>
                  </a:lnTo>
                  <a:lnTo>
                    <a:pt x="2123" y="17"/>
                  </a:lnTo>
                  <a:lnTo>
                    <a:pt x="2235" y="37"/>
                  </a:lnTo>
                  <a:lnTo>
                    <a:pt x="2348" y="62"/>
                  </a:lnTo>
                  <a:lnTo>
                    <a:pt x="2457" y="95"/>
                  </a:lnTo>
                  <a:lnTo>
                    <a:pt x="2564" y="133"/>
                  </a:lnTo>
                  <a:lnTo>
                    <a:pt x="2668" y="177"/>
                  </a:lnTo>
                  <a:lnTo>
                    <a:pt x="2767" y="228"/>
                  </a:lnTo>
                  <a:lnTo>
                    <a:pt x="2864" y="284"/>
                  </a:lnTo>
                  <a:lnTo>
                    <a:pt x="2957" y="346"/>
                  </a:lnTo>
                  <a:lnTo>
                    <a:pt x="3046" y="414"/>
                  </a:lnTo>
                  <a:lnTo>
                    <a:pt x="3131" y="487"/>
                  </a:lnTo>
                  <a:lnTo>
                    <a:pt x="3213" y="566"/>
                  </a:lnTo>
                  <a:lnTo>
                    <a:pt x="3289" y="650"/>
                  </a:lnTo>
                  <a:lnTo>
                    <a:pt x="3361" y="738"/>
                  </a:lnTo>
                  <a:lnTo>
                    <a:pt x="3427" y="832"/>
                  </a:lnTo>
                  <a:lnTo>
                    <a:pt x="3374" y="867"/>
                  </a:lnTo>
                  <a:lnTo>
                    <a:pt x="3309" y="777"/>
                  </a:lnTo>
                  <a:lnTo>
                    <a:pt x="3240" y="692"/>
                  </a:lnTo>
                  <a:lnTo>
                    <a:pt x="3167" y="611"/>
                  </a:lnTo>
                  <a:lnTo>
                    <a:pt x="3088" y="535"/>
                  </a:lnTo>
                  <a:lnTo>
                    <a:pt x="3006" y="465"/>
                  </a:lnTo>
                  <a:lnTo>
                    <a:pt x="2919" y="400"/>
                  </a:lnTo>
                  <a:lnTo>
                    <a:pt x="2830" y="339"/>
                  </a:lnTo>
                  <a:lnTo>
                    <a:pt x="2736" y="284"/>
                  </a:lnTo>
                  <a:lnTo>
                    <a:pt x="2640" y="236"/>
                  </a:lnTo>
                  <a:lnTo>
                    <a:pt x="2539" y="193"/>
                  </a:lnTo>
                  <a:lnTo>
                    <a:pt x="2437" y="156"/>
                  </a:lnTo>
                  <a:lnTo>
                    <a:pt x="2331" y="125"/>
                  </a:lnTo>
                  <a:lnTo>
                    <a:pt x="2223" y="100"/>
                  </a:lnTo>
                  <a:lnTo>
                    <a:pt x="2113" y="82"/>
                  </a:lnTo>
                  <a:lnTo>
                    <a:pt x="2005" y="70"/>
                  </a:lnTo>
                  <a:lnTo>
                    <a:pt x="1895" y="64"/>
                  </a:lnTo>
                  <a:lnTo>
                    <a:pt x="1786" y="67"/>
                  </a:lnTo>
                  <a:lnTo>
                    <a:pt x="1678" y="75"/>
                  </a:lnTo>
                  <a:lnTo>
                    <a:pt x="1571" y="89"/>
                  </a:lnTo>
                  <a:lnTo>
                    <a:pt x="1465" y="110"/>
                  </a:lnTo>
                  <a:lnTo>
                    <a:pt x="1360" y="138"/>
                  </a:lnTo>
                  <a:lnTo>
                    <a:pt x="1258" y="172"/>
                  </a:lnTo>
                  <a:lnTo>
                    <a:pt x="1157" y="212"/>
                  </a:lnTo>
                  <a:lnTo>
                    <a:pt x="1058" y="258"/>
                  </a:lnTo>
                  <a:lnTo>
                    <a:pt x="961" y="311"/>
                  </a:lnTo>
                  <a:lnTo>
                    <a:pt x="868" y="370"/>
                  </a:lnTo>
                  <a:lnTo>
                    <a:pt x="776" y="435"/>
                  </a:lnTo>
                  <a:lnTo>
                    <a:pt x="688" y="506"/>
                  </a:lnTo>
                  <a:lnTo>
                    <a:pt x="607" y="580"/>
                  </a:lnTo>
                  <a:lnTo>
                    <a:pt x="531" y="660"/>
                  </a:lnTo>
                  <a:lnTo>
                    <a:pt x="459" y="744"/>
                  </a:lnTo>
                  <a:lnTo>
                    <a:pt x="393" y="832"/>
                  </a:lnTo>
                  <a:lnTo>
                    <a:pt x="333" y="924"/>
                  </a:lnTo>
                  <a:lnTo>
                    <a:pt x="278" y="1019"/>
                  </a:lnTo>
                  <a:lnTo>
                    <a:pt x="230" y="1117"/>
                  </a:lnTo>
                  <a:lnTo>
                    <a:pt x="186" y="1218"/>
                  </a:lnTo>
                  <a:lnTo>
                    <a:pt x="150" y="1322"/>
                  </a:lnTo>
                  <a:lnTo>
                    <a:pt x="120" y="1428"/>
                  </a:lnTo>
                  <a:lnTo>
                    <a:pt x="96" y="1535"/>
                  </a:lnTo>
                  <a:lnTo>
                    <a:pt x="79" y="1645"/>
                  </a:lnTo>
                  <a:lnTo>
                    <a:pt x="68" y="1756"/>
                  </a:lnTo>
                  <a:lnTo>
                    <a:pt x="65" y="1869"/>
                  </a:lnTo>
                  <a:lnTo>
                    <a:pt x="0" y="1869"/>
                  </a:lnTo>
                  <a:lnTo>
                    <a:pt x="4" y="1752"/>
                  </a:lnTo>
                  <a:lnTo>
                    <a:pt x="15" y="1637"/>
                  </a:lnTo>
                  <a:lnTo>
                    <a:pt x="33" y="1523"/>
                  </a:lnTo>
                  <a:lnTo>
                    <a:pt x="58" y="1412"/>
                  </a:lnTo>
                  <a:lnTo>
                    <a:pt x="88" y="1302"/>
                  </a:lnTo>
                  <a:lnTo>
                    <a:pt x="126" y="1195"/>
                  </a:lnTo>
                  <a:lnTo>
                    <a:pt x="171" y="1090"/>
                  </a:lnTo>
                  <a:lnTo>
                    <a:pt x="222" y="989"/>
                  </a:lnTo>
                  <a:lnTo>
                    <a:pt x="278" y="889"/>
                  </a:lnTo>
                  <a:lnTo>
                    <a:pt x="341" y="795"/>
                  </a:lnTo>
                  <a:lnTo>
                    <a:pt x="409" y="705"/>
                  </a:lnTo>
                  <a:lnTo>
                    <a:pt x="482" y="617"/>
                  </a:lnTo>
                  <a:lnTo>
                    <a:pt x="562" y="535"/>
                  </a:lnTo>
                  <a:lnTo>
                    <a:pt x="646" y="457"/>
                  </a:lnTo>
                  <a:lnTo>
                    <a:pt x="737" y="384"/>
                  </a:lnTo>
                  <a:lnTo>
                    <a:pt x="831" y="316"/>
                  </a:lnTo>
                  <a:lnTo>
                    <a:pt x="929" y="256"/>
                  </a:lnTo>
                  <a:lnTo>
                    <a:pt x="1029" y="201"/>
                  </a:lnTo>
                  <a:lnTo>
                    <a:pt x="1131" y="152"/>
                  </a:lnTo>
                  <a:lnTo>
                    <a:pt x="1236" y="112"/>
                  </a:lnTo>
                  <a:lnTo>
                    <a:pt x="1342" y="76"/>
                  </a:lnTo>
                  <a:lnTo>
                    <a:pt x="1451" y="47"/>
                  </a:lnTo>
                  <a:lnTo>
                    <a:pt x="1561" y="25"/>
                  </a:lnTo>
                  <a:lnTo>
                    <a:pt x="1672" y="11"/>
                  </a:lnTo>
                  <a:lnTo>
                    <a:pt x="1783" y="2"/>
                  </a:lnTo>
                  <a:lnTo>
                    <a:pt x="189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297" name="Group 1296">
            <a:extLst>
              <a:ext uri="{FF2B5EF4-FFF2-40B4-BE49-F238E27FC236}">
                <a16:creationId xmlns:a16="http://schemas.microsoft.com/office/drawing/2014/main" id="{BE78FFF0-29A9-4BEB-9C01-AA65C63F636D}"/>
              </a:ext>
            </a:extLst>
          </p:cNvPr>
          <p:cNvGrpSpPr/>
          <p:nvPr/>
        </p:nvGrpSpPr>
        <p:grpSpPr>
          <a:xfrm>
            <a:off x="8283684" y="-211015"/>
            <a:ext cx="3975852" cy="7467592"/>
            <a:chOff x="8243223" y="-278296"/>
            <a:chExt cx="4047495" cy="7602154"/>
          </a:xfrm>
          <a:solidFill>
            <a:schemeClr val="accent1">
              <a:alpha val="8000"/>
            </a:schemeClr>
          </a:solidFill>
        </p:grpSpPr>
        <p:sp>
          <p:nvSpPr>
            <p:cNvPr id="1298" name="Freeform 6">
              <a:extLst>
                <a:ext uri="{FF2B5EF4-FFF2-40B4-BE49-F238E27FC236}">
                  <a16:creationId xmlns:a16="http://schemas.microsoft.com/office/drawing/2014/main" id="{746C73CE-68C3-40D9-AFD9-0316F605122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713876" y="3067548"/>
              <a:ext cx="111208" cy="108008"/>
            </a:xfrm>
            <a:custGeom>
              <a:avLst/>
              <a:gdLst>
                <a:gd name="T0" fmla="*/ 70 w 139"/>
                <a:gd name="T1" fmla="*/ 0 h 135"/>
                <a:gd name="T2" fmla="*/ 95 w 139"/>
                <a:gd name="T3" fmla="*/ 5 h 135"/>
                <a:gd name="T4" fmla="*/ 119 w 139"/>
                <a:gd name="T5" fmla="*/ 20 h 135"/>
                <a:gd name="T6" fmla="*/ 133 w 139"/>
                <a:gd name="T7" fmla="*/ 40 h 135"/>
                <a:gd name="T8" fmla="*/ 139 w 139"/>
                <a:gd name="T9" fmla="*/ 66 h 135"/>
                <a:gd name="T10" fmla="*/ 133 w 139"/>
                <a:gd name="T11" fmla="*/ 92 h 135"/>
                <a:gd name="T12" fmla="*/ 119 w 139"/>
                <a:gd name="T13" fmla="*/ 115 h 135"/>
                <a:gd name="T14" fmla="*/ 95 w 139"/>
                <a:gd name="T15" fmla="*/ 129 h 135"/>
                <a:gd name="T16" fmla="*/ 70 w 139"/>
                <a:gd name="T17" fmla="*/ 135 h 135"/>
                <a:gd name="T18" fmla="*/ 44 w 139"/>
                <a:gd name="T19" fmla="*/ 129 h 135"/>
                <a:gd name="T20" fmla="*/ 21 w 139"/>
                <a:gd name="T21" fmla="*/ 115 h 135"/>
                <a:gd name="T22" fmla="*/ 6 w 139"/>
                <a:gd name="T23" fmla="*/ 95 h 135"/>
                <a:gd name="T24" fmla="*/ 0 w 139"/>
                <a:gd name="T25" fmla="*/ 69 h 135"/>
                <a:gd name="T26" fmla="*/ 6 w 139"/>
                <a:gd name="T27" fmla="*/ 43 h 135"/>
                <a:gd name="T28" fmla="*/ 21 w 139"/>
                <a:gd name="T29" fmla="*/ 20 h 135"/>
                <a:gd name="T30" fmla="*/ 44 w 139"/>
                <a:gd name="T31" fmla="*/ 5 h 135"/>
                <a:gd name="T32" fmla="*/ 70 w 139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5">
                  <a:moveTo>
                    <a:pt x="70" y="0"/>
                  </a:moveTo>
                  <a:lnTo>
                    <a:pt x="95" y="5"/>
                  </a:lnTo>
                  <a:lnTo>
                    <a:pt x="119" y="20"/>
                  </a:lnTo>
                  <a:lnTo>
                    <a:pt x="133" y="40"/>
                  </a:lnTo>
                  <a:lnTo>
                    <a:pt x="139" y="66"/>
                  </a:lnTo>
                  <a:lnTo>
                    <a:pt x="133" y="92"/>
                  </a:lnTo>
                  <a:lnTo>
                    <a:pt x="119" y="115"/>
                  </a:lnTo>
                  <a:lnTo>
                    <a:pt x="95" y="129"/>
                  </a:lnTo>
                  <a:lnTo>
                    <a:pt x="70" y="135"/>
                  </a:lnTo>
                  <a:lnTo>
                    <a:pt x="44" y="129"/>
                  </a:lnTo>
                  <a:lnTo>
                    <a:pt x="21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1" y="20"/>
                  </a:lnTo>
                  <a:lnTo>
                    <a:pt x="44" y="5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99" name="Freeform 7">
              <a:extLst>
                <a:ext uri="{FF2B5EF4-FFF2-40B4-BE49-F238E27FC236}">
                  <a16:creationId xmlns:a16="http://schemas.microsoft.com/office/drawing/2014/main" id="{A382AD2A-0917-4F63-8EA0-923FF815F61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891489" y="2957140"/>
              <a:ext cx="111208" cy="108008"/>
            </a:xfrm>
            <a:custGeom>
              <a:avLst/>
              <a:gdLst>
                <a:gd name="T0" fmla="*/ 70 w 139"/>
                <a:gd name="T1" fmla="*/ 0 h 135"/>
                <a:gd name="T2" fmla="*/ 95 w 139"/>
                <a:gd name="T3" fmla="*/ 6 h 135"/>
                <a:gd name="T4" fmla="*/ 119 w 139"/>
                <a:gd name="T5" fmla="*/ 20 h 135"/>
                <a:gd name="T6" fmla="*/ 133 w 139"/>
                <a:gd name="T7" fmla="*/ 40 h 135"/>
                <a:gd name="T8" fmla="*/ 139 w 139"/>
                <a:gd name="T9" fmla="*/ 66 h 135"/>
                <a:gd name="T10" fmla="*/ 133 w 139"/>
                <a:gd name="T11" fmla="*/ 95 h 135"/>
                <a:gd name="T12" fmla="*/ 119 w 139"/>
                <a:gd name="T13" fmla="*/ 115 h 135"/>
                <a:gd name="T14" fmla="*/ 95 w 139"/>
                <a:gd name="T15" fmla="*/ 130 h 135"/>
                <a:gd name="T16" fmla="*/ 70 w 139"/>
                <a:gd name="T17" fmla="*/ 135 h 135"/>
                <a:gd name="T18" fmla="*/ 44 w 139"/>
                <a:gd name="T19" fmla="*/ 130 h 135"/>
                <a:gd name="T20" fmla="*/ 21 w 139"/>
                <a:gd name="T21" fmla="*/ 115 h 135"/>
                <a:gd name="T22" fmla="*/ 6 w 139"/>
                <a:gd name="T23" fmla="*/ 95 h 135"/>
                <a:gd name="T24" fmla="*/ 0 w 139"/>
                <a:gd name="T25" fmla="*/ 69 h 135"/>
                <a:gd name="T26" fmla="*/ 6 w 139"/>
                <a:gd name="T27" fmla="*/ 43 h 135"/>
                <a:gd name="T28" fmla="*/ 21 w 139"/>
                <a:gd name="T29" fmla="*/ 20 h 135"/>
                <a:gd name="T30" fmla="*/ 44 w 139"/>
                <a:gd name="T31" fmla="*/ 6 h 135"/>
                <a:gd name="T32" fmla="*/ 70 w 139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5">
                  <a:moveTo>
                    <a:pt x="70" y="0"/>
                  </a:moveTo>
                  <a:lnTo>
                    <a:pt x="95" y="6"/>
                  </a:lnTo>
                  <a:lnTo>
                    <a:pt x="119" y="20"/>
                  </a:lnTo>
                  <a:lnTo>
                    <a:pt x="133" y="40"/>
                  </a:lnTo>
                  <a:lnTo>
                    <a:pt x="139" y="66"/>
                  </a:lnTo>
                  <a:lnTo>
                    <a:pt x="133" y="95"/>
                  </a:lnTo>
                  <a:lnTo>
                    <a:pt x="119" y="115"/>
                  </a:lnTo>
                  <a:lnTo>
                    <a:pt x="95" y="130"/>
                  </a:lnTo>
                  <a:lnTo>
                    <a:pt x="70" y="135"/>
                  </a:lnTo>
                  <a:lnTo>
                    <a:pt x="44" y="130"/>
                  </a:lnTo>
                  <a:lnTo>
                    <a:pt x="21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1" y="20"/>
                  </a:lnTo>
                  <a:lnTo>
                    <a:pt x="44" y="6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0" name="Freeform 8">
              <a:extLst>
                <a:ext uri="{FF2B5EF4-FFF2-40B4-BE49-F238E27FC236}">
                  <a16:creationId xmlns:a16="http://schemas.microsoft.com/office/drawing/2014/main" id="{88D9BA0C-F1A9-477C-BF7C-C37E3A9DD47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765079" y="3270763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2 w 135"/>
                <a:gd name="T3" fmla="*/ 3 h 135"/>
                <a:gd name="T4" fmla="*/ 115 w 135"/>
                <a:gd name="T5" fmla="*/ 20 h 135"/>
                <a:gd name="T6" fmla="*/ 130 w 135"/>
                <a:gd name="T7" fmla="*/ 40 h 135"/>
                <a:gd name="T8" fmla="*/ 135 w 135"/>
                <a:gd name="T9" fmla="*/ 66 h 135"/>
                <a:gd name="T10" fmla="*/ 130 w 135"/>
                <a:gd name="T11" fmla="*/ 92 h 135"/>
                <a:gd name="T12" fmla="*/ 115 w 135"/>
                <a:gd name="T13" fmla="*/ 115 h 135"/>
                <a:gd name="T14" fmla="*/ 92 w 135"/>
                <a:gd name="T15" fmla="*/ 130 h 135"/>
                <a:gd name="T16" fmla="*/ 66 w 135"/>
                <a:gd name="T17" fmla="*/ 135 h 135"/>
                <a:gd name="T18" fmla="*/ 40 w 135"/>
                <a:gd name="T19" fmla="*/ 130 h 135"/>
                <a:gd name="T20" fmla="*/ 17 w 135"/>
                <a:gd name="T21" fmla="*/ 115 h 135"/>
                <a:gd name="T22" fmla="*/ 3 w 135"/>
                <a:gd name="T23" fmla="*/ 92 h 135"/>
                <a:gd name="T24" fmla="*/ 0 w 135"/>
                <a:gd name="T25" fmla="*/ 66 h 135"/>
                <a:gd name="T26" fmla="*/ 3 w 135"/>
                <a:gd name="T27" fmla="*/ 40 h 135"/>
                <a:gd name="T28" fmla="*/ 17 w 135"/>
                <a:gd name="T29" fmla="*/ 20 h 135"/>
                <a:gd name="T30" fmla="*/ 40 w 135"/>
                <a:gd name="T31" fmla="*/ 6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2" y="3"/>
                  </a:lnTo>
                  <a:lnTo>
                    <a:pt x="115" y="20"/>
                  </a:lnTo>
                  <a:lnTo>
                    <a:pt x="130" y="40"/>
                  </a:lnTo>
                  <a:lnTo>
                    <a:pt x="135" y="66"/>
                  </a:lnTo>
                  <a:lnTo>
                    <a:pt x="130" y="92"/>
                  </a:lnTo>
                  <a:lnTo>
                    <a:pt x="115" y="115"/>
                  </a:lnTo>
                  <a:lnTo>
                    <a:pt x="92" y="130"/>
                  </a:lnTo>
                  <a:lnTo>
                    <a:pt x="66" y="135"/>
                  </a:lnTo>
                  <a:lnTo>
                    <a:pt x="40" y="130"/>
                  </a:lnTo>
                  <a:lnTo>
                    <a:pt x="17" y="115"/>
                  </a:lnTo>
                  <a:lnTo>
                    <a:pt x="3" y="92"/>
                  </a:lnTo>
                  <a:lnTo>
                    <a:pt x="0" y="66"/>
                  </a:lnTo>
                  <a:lnTo>
                    <a:pt x="3" y="40"/>
                  </a:lnTo>
                  <a:lnTo>
                    <a:pt x="17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1" name="Freeform 9">
              <a:extLst>
                <a:ext uri="{FF2B5EF4-FFF2-40B4-BE49-F238E27FC236}">
                  <a16:creationId xmlns:a16="http://schemas.microsoft.com/office/drawing/2014/main" id="{ECC10DE3-94EA-4C2A-89A9-45DF92ADE4D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550664" y="3000343"/>
              <a:ext cx="108008" cy="108808"/>
            </a:xfrm>
            <a:custGeom>
              <a:avLst/>
              <a:gdLst>
                <a:gd name="T0" fmla="*/ 66 w 135"/>
                <a:gd name="T1" fmla="*/ 0 h 136"/>
                <a:gd name="T2" fmla="*/ 95 w 135"/>
                <a:gd name="T3" fmla="*/ 6 h 136"/>
                <a:gd name="T4" fmla="*/ 118 w 135"/>
                <a:gd name="T5" fmla="*/ 20 h 136"/>
                <a:gd name="T6" fmla="*/ 133 w 135"/>
                <a:gd name="T7" fmla="*/ 41 h 136"/>
                <a:gd name="T8" fmla="*/ 135 w 135"/>
                <a:gd name="T9" fmla="*/ 66 h 136"/>
                <a:gd name="T10" fmla="*/ 133 w 135"/>
                <a:gd name="T11" fmla="*/ 92 h 136"/>
                <a:gd name="T12" fmla="*/ 115 w 135"/>
                <a:gd name="T13" fmla="*/ 115 h 136"/>
                <a:gd name="T14" fmla="*/ 95 w 135"/>
                <a:gd name="T15" fmla="*/ 130 h 136"/>
                <a:gd name="T16" fmla="*/ 69 w 135"/>
                <a:gd name="T17" fmla="*/ 136 h 136"/>
                <a:gd name="T18" fmla="*/ 43 w 135"/>
                <a:gd name="T19" fmla="*/ 130 h 136"/>
                <a:gd name="T20" fmla="*/ 20 w 135"/>
                <a:gd name="T21" fmla="*/ 115 h 136"/>
                <a:gd name="T22" fmla="*/ 6 w 135"/>
                <a:gd name="T23" fmla="*/ 95 h 136"/>
                <a:gd name="T24" fmla="*/ 0 w 135"/>
                <a:gd name="T25" fmla="*/ 69 h 136"/>
                <a:gd name="T26" fmla="*/ 6 w 135"/>
                <a:gd name="T27" fmla="*/ 43 h 136"/>
                <a:gd name="T28" fmla="*/ 20 w 135"/>
                <a:gd name="T29" fmla="*/ 20 h 136"/>
                <a:gd name="T30" fmla="*/ 43 w 135"/>
                <a:gd name="T31" fmla="*/ 6 h 136"/>
                <a:gd name="T32" fmla="*/ 66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6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3" y="41"/>
                  </a:lnTo>
                  <a:lnTo>
                    <a:pt x="135" y="66"/>
                  </a:lnTo>
                  <a:lnTo>
                    <a:pt x="133" y="92"/>
                  </a:lnTo>
                  <a:lnTo>
                    <a:pt x="115" y="115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2" name="Freeform 10">
              <a:extLst>
                <a:ext uri="{FF2B5EF4-FFF2-40B4-BE49-F238E27FC236}">
                  <a16:creationId xmlns:a16="http://schemas.microsoft.com/office/drawing/2014/main" id="{9B9E41F8-50E2-435E-9996-13E500CF35E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690674" y="2832331"/>
              <a:ext cx="108808" cy="108008"/>
            </a:xfrm>
            <a:custGeom>
              <a:avLst/>
              <a:gdLst>
                <a:gd name="T0" fmla="*/ 66 w 136"/>
                <a:gd name="T1" fmla="*/ 0 h 135"/>
                <a:gd name="T2" fmla="*/ 92 w 136"/>
                <a:gd name="T3" fmla="*/ 5 h 135"/>
                <a:gd name="T4" fmla="*/ 115 w 136"/>
                <a:gd name="T5" fmla="*/ 20 h 135"/>
                <a:gd name="T6" fmla="*/ 130 w 136"/>
                <a:gd name="T7" fmla="*/ 40 h 135"/>
                <a:gd name="T8" fmla="*/ 136 w 136"/>
                <a:gd name="T9" fmla="*/ 66 h 135"/>
                <a:gd name="T10" fmla="*/ 130 w 136"/>
                <a:gd name="T11" fmla="*/ 95 h 135"/>
                <a:gd name="T12" fmla="*/ 115 w 136"/>
                <a:gd name="T13" fmla="*/ 115 h 135"/>
                <a:gd name="T14" fmla="*/ 92 w 136"/>
                <a:gd name="T15" fmla="*/ 129 h 135"/>
                <a:gd name="T16" fmla="*/ 69 w 136"/>
                <a:gd name="T17" fmla="*/ 135 h 135"/>
                <a:gd name="T18" fmla="*/ 43 w 136"/>
                <a:gd name="T19" fmla="*/ 132 h 135"/>
                <a:gd name="T20" fmla="*/ 20 w 136"/>
                <a:gd name="T21" fmla="*/ 115 h 135"/>
                <a:gd name="T22" fmla="*/ 6 w 136"/>
                <a:gd name="T23" fmla="*/ 95 h 135"/>
                <a:gd name="T24" fmla="*/ 0 w 136"/>
                <a:gd name="T25" fmla="*/ 69 h 135"/>
                <a:gd name="T26" fmla="*/ 3 w 136"/>
                <a:gd name="T27" fmla="*/ 43 h 135"/>
                <a:gd name="T28" fmla="*/ 20 w 136"/>
                <a:gd name="T29" fmla="*/ 20 h 135"/>
                <a:gd name="T30" fmla="*/ 40 w 136"/>
                <a:gd name="T31" fmla="*/ 5 h 135"/>
                <a:gd name="T32" fmla="*/ 66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6" y="0"/>
                  </a:moveTo>
                  <a:lnTo>
                    <a:pt x="92" y="5"/>
                  </a:lnTo>
                  <a:lnTo>
                    <a:pt x="115" y="20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0" y="95"/>
                  </a:lnTo>
                  <a:lnTo>
                    <a:pt x="115" y="115"/>
                  </a:lnTo>
                  <a:lnTo>
                    <a:pt x="92" y="129"/>
                  </a:lnTo>
                  <a:lnTo>
                    <a:pt x="69" y="135"/>
                  </a:lnTo>
                  <a:lnTo>
                    <a:pt x="43" y="132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3" y="43"/>
                  </a:lnTo>
                  <a:lnTo>
                    <a:pt x="20" y="20"/>
                  </a:lnTo>
                  <a:lnTo>
                    <a:pt x="40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3" name="Freeform 11">
              <a:extLst>
                <a:ext uri="{FF2B5EF4-FFF2-40B4-BE49-F238E27FC236}">
                  <a16:creationId xmlns:a16="http://schemas.microsoft.com/office/drawing/2014/main" id="{E568647E-0AF6-470C-8F09-D47F59D0EC8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905890" y="2779527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2 w 135"/>
                <a:gd name="T3" fmla="*/ 6 h 135"/>
                <a:gd name="T4" fmla="*/ 115 w 135"/>
                <a:gd name="T5" fmla="*/ 20 h 135"/>
                <a:gd name="T6" fmla="*/ 130 w 135"/>
                <a:gd name="T7" fmla="*/ 43 h 135"/>
                <a:gd name="T8" fmla="*/ 135 w 135"/>
                <a:gd name="T9" fmla="*/ 66 h 135"/>
                <a:gd name="T10" fmla="*/ 130 w 135"/>
                <a:gd name="T11" fmla="*/ 95 h 135"/>
                <a:gd name="T12" fmla="*/ 115 w 135"/>
                <a:gd name="T13" fmla="*/ 115 h 135"/>
                <a:gd name="T14" fmla="*/ 95 w 135"/>
                <a:gd name="T15" fmla="*/ 130 h 135"/>
                <a:gd name="T16" fmla="*/ 69 w 135"/>
                <a:gd name="T17" fmla="*/ 135 h 135"/>
                <a:gd name="T18" fmla="*/ 43 w 135"/>
                <a:gd name="T19" fmla="*/ 132 h 135"/>
                <a:gd name="T20" fmla="*/ 20 w 135"/>
                <a:gd name="T21" fmla="*/ 115 h 135"/>
                <a:gd name="T22" fmla="*/ 6 w 135"/>
                <a:gd name="T23" fmla="*/ 95 h 135"/>
                <a:gd name="T24" fmla="*/ 0 w 135"/>
                <a:gd name="T25" fmla="*/ 69 h 135"/>
                <a:gd name="T26" fmla="*/ 6 w 135"/>
                <a:gd name="T27" fmla="*/ 43 h 135"/>
                <a:gd name="T28" fmla="*/ 20 w 135"/>
                <a:gd name="T29" fmla="*/ 20 h 135"/>
                <a:gd name="T30" fmla="*/ 40 w 135"/>
                <a:gd name="T31" fmla="*/ 6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2" y="6"/>
                  </a:lnTo>
                  <a:lnTo>
                    <a:pt x="115" y="20"/>
                  </a:lnTo>
                  <a:lnTo>
                    <a:pt x="130" y="43"/>
                  </a:lnTo>
                  <a:lnTo>
                    <a:pt x="135" y="66"/>
                  </a:lnTo>
                  <a:lnTo>
                    <a:pt x="130" y="95"/>
                  </a:lnTo>
                  <a:lnTo>
                    <a:pt x="115" y="115"/>
                  </a:lnTo>
                  <a:lnTo>
                    <a:pt x="95" y="130"/>
                  </a:lnTo>
                  <a:lnTo>
                    <a:pt x="69" y="135"/>
                  </a:lnTo>
                  <a:lnTo>
                    <a:pt x="43" y="132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4" name="Freeform 12">
              <a:extLst>
                <a:ext uri="{FF2B5EF4-FFF2-40B4-BE49-F238E27FC236}">
                  <a16:creationId xmlns:a16="http://schemas.microsoft.com/office/drawing/2014/main" id="{8B49ED00-2361-4547-8C56-7BF7E75481B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854686" y="3489179"/>
              <a:ext cx="108808" cy="108808"/>
            </a:xfrm>
            <a:custGeom>
              <a:avLst/>
              <a:gdLst>
                <a:gd name="T0" fmla="*/ 67 w 136"/>
                <a:gd name="T1" fmla="*/ 0 h 136"/>
                <a:gd name="T2" fmla="*/ 93 w 136"/>
                <a:gd name="T3" fmla="*/ 3 h 136"/>
                <a:gd name="T4" fmla="*/ 116 w 136"/>
                <a:gd name="T5" fmla="*/ 17 h 136"/>
                <a:gd name="T6" fmla="*/ 130 w 136"/>
                <a:gd name="T7" fmla="*/ 41 h 136"/>
                <a:gd name="T8" fmla="*/ 136 w 136"/>
                <a:gd name="T9" fmla="*/ 66 h 136"/>
                <a:gd name="T10" fmla="*/ 130 w 136"/>
                <a:gd name="T11" fmla="*/ 92 h 136"/>
                <a:gd name="T12" fmla="*/ 116 w 136"/>
                <a:gd name="T13" fmla="*/ 115 h 136"/>
                <a:gd name="T14" fmla="*/ 93 w 136"/>
                <a:gd name="T15" fmla="*/ 130 h 136"/>
                <a:gd name="T16" fmla="*/ 70 w 136"/>
                <a:gd name="T17" fmla="*/ 136 h 136"/>
                <a:gd name="T18" fmla="*/ 41 w 136"/>
                <a:gd name="T19" fmla="*/ 130 h 136"/>
                <a:gd name="T20" fmla="*/ 21 w 136"/>
                <a:gd name="T21" fmla="*/ 115 h 136"/>
                <a:gd name="T22" fmla="*/ 6 w 136"/>
                <a:gd name="T23" fmla="*/ 92 h 136"/>
                <a:gd name="T24" fmla="*/ 0 w 136"/>
                <a:gd name="T25" fmla="*/ 66 h 136"/>
                <a:gd name="T26" fmla="*/ 6 w 136"/>
                <a:gd name="T27" fmla="*/ 41 h 136"/>
                <a:gd name="T28" fmla="*/ 21 w 136"/>
                <a:gd name="T29" fmla="*/ 17 h 136"/>
                <a:gd name="T30" fmla="*/ 41 w 136"/>
                <a:gd name="T31" fmla="*/ 3 h 136"/>
                <a:gd name="T32" fmla="*/ 67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7" y="0"/>
                  </a:moveTo>
                  <a:lnTo>
                    <a:pt x="93" y="3"/>
                  </a:lnTo>
                  <a:lnTo>
                    <a:pt x="116" y="17"/>
                  </a:lnTo>
                  <a:lnTo>
                    <a:pt x="130" y="41"/>
                  </a:lnTo>
                  <a:lnTo>
                    <a:pt x="136" y="66"/>
                  </a:lnTo>
                  <a:lnTo>
                    <a:pt x="130" y="92"/>
                  </a:lnTo>
                  <a:lnTo>
                    <a:pt x="116" y="115"/>
                  </a:lnTo>
                  <a:lnTo>
                    <a:pt x="93" y="130"/>
                  </a:lnTo>
                  <a:lnTo>
                    <a:pt x="70" y="136"/>
                  </a:lnTo>
                  <a:lnTo>
                    <a:pt x="41" y="130"/>
                  </a:lnTo>
                  <a:lnTo>
                    <a:pt x="21" y="115"/>
                  </a:lnTo>
                  <a:lnTo>
                    <a:pt x="6" y="92"/>
                  </a:lnTo>
                  <a:lnTo>
                    <a:pt x="0" y="66"/>
                  </a:lnTo>
                  <a:lnTo>
                    <a:pt x="6" y="41"/>
                  </a:lnTo>
                  <a:lnTo>
                    <a:pt x="21" y="17"/>
                  </a:lnTo>
                  <a:lnTo>
                    <a:pt x="41" y="3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5" name="Freeform 13">
              <a:extLst>
                <a:ext uri="{FF2B5EF4-FFF2-40B4-BE49-F238E27FC236}">
                  <a16:creationId xmlns:a16="http://schemas.microsoft.com/office/drawing/2014/main" id="{B0316024-D6D7-4084-A029-950C9FD3899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649871" y="3406773"/>
              <a:ext cx="110408" cy="110408"/>
            </a:xfrm>
            <a:custGeom>
              <a:avLst/>
              <a:gdLst>
                <a:gd name="T0" fmla="*/ 69 w 138"/>
                <a:gd name="T1" fmla="*/ 0 h 138"/>
                <a:gd name="T2" fmla="*/ 95 w 138"/>
                <a:gd name="T3" fmla="*/ 6 h 138"/>
                <a:gd name="T4" fmla="*/ 118 w 138"/>
                <a:gd name="T5" fmla="*/ 20 h 138"/>
                <a:gd name="T6" fmla="*/ 133 w 138"/>
                <a:gd name="T7" fmla="*/ 43 h 138"/>
                <a:gd name="T8" fmla="*/ 138 w 138"/>
                <a:gd name="T9" fmla="*/ 69 h 138"/>
                <a:gd name="T10" fmla="*/ 133 w 138"/>
                <a:gd name="T11" fmla="*/ 95 h 138"/>
                <a:gd name="T12" fmla="*/ 118 w 138"/>
                <a:gd name="T13" fmla="*/ 118 h 138"/>
                <a:gd name="T14" fmla="*/ 95 w 138"/>
                <a:gd name="T15" fmla="*/ 133 h 138"/>
                <a:gd name="T16" fmla="*/ 69 w 138"/>
                <a:gd name="T17" fmla="*/ 138 h 138"/>
                <a:gd name="T18" fmla="*/ 43 w 138"/>
                <a:gd name="T19" fmla="*/ 133 h 138"/>
                <a:gd name="T20" fmla="*/ 20 w 138"/>
                <a:gd name="T21" fmla="*/ 118 h 138"/>
                <a:gd name="T22" fmla="*/ 6 w 138"/>
                <a:gd name="T23" fmla="*/ 95 h 138"/>
                <a:gd name="T24" fmla="*/ 0 w 138"/>
                <a:gd name="T25" fmla="*/ 69 h 138"/>
                <a:gd name="T26" fmla="*/ 6 w 138"/>
                <a:gd name="T27" fmla="*/ 43 h 138"/>
                <a:gd name="T28" fmla="*/ 20 w 138"/>
                <a:gd name="T29" fmla="*/ 20 h 138"/>
                <a:gd name="T30" fmla="*/ 43 w 138"/>
                <a:gd name="T31" fmla="*/ 6 h 138"/>
                <a:gd name="T32" fmla="*/ 69 w 138"/>
                <a:gd name="T3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8">
                  <a:moveTo>
                    <a:pt x="69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3" y="43"/>
                  </a:lnTo>
                  <a:lnTo>
                    <a:pt x="138" y="69"/>
                  </a:lnTo>
                  <a:lnTo>
                    <a:pt x="133" y="95"/>
                  </a:lnTo>
                  <a:lnTo>
                    <a:pt x="118" y="118"/>
                  </a:lnTo>
                  <a:lnTo>
                    <a:pt x="95" y="133"/>
                  </a:lnTo>
                  <a:lnTo>
                    <a:pt x="69" y="138"/>
                  </a:lnTo>
                  <a:lnTo>
                    <a:pt x="43" y="133"/>
                  </a:lnTo>
                  <a:lnTo>
                    <a:pt x="20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6" name="Freeform 14">
              <a:extLst>
                <a:ext uri="{FF2B5EF4-FFF2-40B4-BE49-F238E27FC236}">
                  <a16:creationId xmlns:a16="http://schemas.microsoft.com/office/drawing/2014/main" id="{D2EBAF6F-277D-4110-9898-C8709BBAACB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533863" y="3219559"/>
              <a:ext cx="108808" cy="108808"/>
            </a:xfrm>
            <a:custGeom>
              <a:avLst/>
              <a:gdLst>
                <a:gd name="T0" fmla="*/ 66 w 136"/>
                <a:gd name="T1" fmla="*/ 0 h 136"/>
                <a:gd name="T2" fmla="*/ 92 w 136"/>
                <a:gd name="T3" fmla="*/ 3 h 136"/>
                <a:gd name="T4" fmla="*/ 115 w 136"/>
                <a:gd name="T5" fmla="*/ 18 h 136"/>
                <a:gd name="T6" fmla="*/ 130 w 136"/>
                <a:gd name="T7" fmla="*/ 41 h 136"/>
                <a:gd name="T8" fmla="*/ 136 w 136"/>
                <a:gd name="T9" fmla="*/ 67 h 136"/>
                <a:gd name="T10" fmla="*/ 130 w 136"/>
                <a:gd name="T11" fmla="*/ 93 h 136"/>
                <a:gd name="T12" fmla="*/ 115 w 136"/>
                <a:gd name="T13" fmla="*/ 116 h 136"/>
                <a:gd name="T14" fmla="*/ 95 w 136"/>
                <a:gd name="T15" fmla="*/ 130 h 136"/>
                <a:gd name="T16" fmla="*/ 69 w 136"/>
                <a:gd name="T17" fmla="*/ 136 h 136"/>
                <a:gd name="T18" fmla="*/ 43 w 136"/>
                <a:gd name="T19" fmla="*/ 130 h 136"/>
                <a:gd name="T20" fmla="*/ 20 w 136"/>
                <a:gd name="T21" fmla="*/ 116 h 136"/>
                <a:gd name="T22" fmla="*/ 6 w 136"/>
                <a:gd name="T23" fmla="*/ 93 h 136"/>
                <a:gd name="T24" fmla="*/ 0 w 136"/>
                <a:gd name="T25" fmla="*/ 70 h 136"/>
                <a:gd name="T26" fmla="*/ 6 w 136"/>
                <a:gd name="T27" fmla="*/ 41 h 136"/>
                <a:gd name="T28" fmla="*/ 20 w 136"/>
                <a:gd name="T29" fmla="*/ 18 h 136"/>
                <a:gd name="T30" fmla="*/ 40 w 136"/>
                <a:gd name="T31" fmla="*/ 3 h 136"/>
                <a:gd name="T32" fmla="*/ 66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6" y="0"/>
                  </a:moveTo>
                  <a:lnTo>
                    <a:pt x="92" y="3"/>
                  </a:lnTo>
                  <a:lnTo>
                    <a:pt x="115" y="18"/>
                  </a:lnTo>
                  <a:lnTo>
                    <a:pt x="130" y="41"/>
                  </a:lnTo>
                  <a:lnTo>
                    <a:pt x="136" y="67"/>
                  </a:lnTo>
                  <a:lnTo>
                    <a:pt x="130" y="93"/>
                  </a:lnTo>
                  <a:lnTo>
                    <a:pt x="115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6"/>
                  </a:lnTo>
                  <a:lnTo>
                    <a:pt x="6" y="93"/>
                  </a:lnTo>
                  <a:lnTo>
                    <a:pt x="0" y="70"/>
                  </a:lnTo>
                  <a:lnTo>
                    <a:pt x="6" y="41"/>
                  </a:lnTo>
                  <a:lnTo>
                    <a:pt x="20" y="18"/>
                  </a:lnTo>
                  <a:lnTo>
                    <a:pt x="40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7" name="Freeform 15">
              <a:extLst>
                <a:ext uri="{FF2B5EF4-FFF2-40B4-BE49-F238E27FC236}">
                  <a16:creationId xmlns:a16="http://schemas.microsoft.com/office/drawing/2014/main" id="{EF092A4B-B061-4C71-BBED-DA4DEE7EC7B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384252" y="2933938"/>
              <a:ext cx="108808" cy="108008"/>
            </a:xfrm>
            <a:custGeom>
              <a:avLst/>
              <a:gdLst>
                <a:gd name="T0" fmla="*/ 67 w 136"/>
                <a:gd name="T1" fmla="*/ 0 h 135"/>
                <a:gd name="T2" fmla="*/ 93 w 136"/>
                <a:gd name="T3" fmla="*/ 6 h 135"/>
                <a:gd name="T4" fmla="*/ 116 w 136"/>
                <a:gd name="T5" fmla="*/ 20 h 135"/>
                <a:gd name="T6" fmla="*/ 130 w 136"/>
                <a:gd name="T7" fmla="*/ 40 h 135"/>
                <a:gd name="T8" fmla="*/ 136 w 136"/>
                <a:gd name="T9" fmla="*/ 66 h 135"/>
                <a:gd name="T10" fmla="*/ 130 w 136"/>
                <a:gd name="T11" fmla="*/ 92 h 135"/>
                <a:gd name="T12" fmla="*/ 116 w 136"/>
                <a:gd name="T13" fmla="*/ 115 h 135"/>
                <a:gd name="T14" fmla="*/ 96 w 136"/>
                <a:gd name="T15" fmla="*/ 129 h 135"/>
                <a:gd name="T16" fmla="*/ 70 w 136"/>
                <a:gd name="T17" fmla="*/ 135 h 135"/>
                <a:gd name="T18" fmla="*/ 44 w 136"/>
                <a:gd name="T19" fmla="*/ 129 h 135"/>
                <a:gd name="T20" fmla="*/ 21 w 136"/>
                <a:gd name="T21" fmla="*/ 115 h 135"/>
                <a:gd name="T22" fmla="*/ 6 w 136"/>
                <a:gd name="T23" fmla="*/ 95 h 135"/>
                <a:gd name="T24" fmla="*/ 0 w 136"/>
                <a:gd name="T25" fmla="*/ 69 h 135"/>
                <a:gd name="T26" fmla="*/ 6 w 136"/>
                <a:gd name="T27" fmla="*/ 43 h 135"/>
                <a:gd name="T28" fmla="*/ 21 w 136"/>
                <a:gd name="T29" fmla="*/ 20 h 135"/>
                <a:gd name="T30" fmla="*/ 41 w 136"/>
                <a:gd name="T31" fmla="*/ 6 h 135"/>
                <a:gd name="T32" fmla="*/ 67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7" y="0"/>
                  </a:moveTo>
                  <a:lnTo>
                    <a:pt x="93" y="6"/>
                  </a:lnTo>
                  <a:lnTo>
                    <a:pt x="116" y="20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0" y="92"/>
                  </a:lnTo>
                  <a:lnTo>
                    <a:pt x="116" y="115"/>
                  </a:lnTo>
                  <a:lnTo>
                    <a:pt x="96" y="129"/>
                  </a:lnTo>
                  <a:lnTo>
                    <a:pt x="70" y="135"/>
                  </a:lnTo>
                  <a:lnTo>
                    <a:pt x="44" y="129"/>
                  </a:lnTo>
                  <a:lnTo>
                    <a:pt x="21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1" y="20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8" name="Freeform 16">
              <a:extLst>
                <a:ext uri="{FF2B5EF4-FFF2-40B4-BE49-F238E27FC236}">
                  <a16:creationId xmlns:a16="http://schemas.microsoft.com/office/drawing/2014/main" id="{888A2B1B-6DA1-4C93-9190-5985C2933C4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509061" y="2749125"/>
              <a:ext cx="108008" cy="108808"/>
            </a:xfrm>
            <a:custGeom>
              <a:avLst/>
              <a:gdLst>
                <a:gd name="T0" fmla="*/ 66 w 135"/>
                <a:gd name="T1" fmla="*/ 0 h 136"/>
                <a:gd name="T2" fmla="*/ 92 w 135"/>
                <a:gd name="T3" fmla="*/ 6 h 136"/>
                <a:gd name="T4" fmla="*/ 115 w 135"/>
                <a:gd name="T5" fmla="*/ 20 h 136"/>
                <a:gd name="T6" fmla="*/ 130 w 135"/>
                <a:gd name="T7" fmla="*/ 41 h 136"/>
                <a:gd name="T8" fmla="*/ 135 w 135"/>
                <a:gd name="T9" fmla="*/ 67 h 136"/>
                <a:gd name="T10" fmla="*/ 130 w 135"/>
                <a:gd name="T11" fmla="*/ 93 h 136"/>
                <a:gd name="T12" fmla="*/ 115 w 135"/>
                <a:gd name="T13" fmla="*/ 116 h 136"/>
                <a:gd name="T14" fmla="*/ 95 w 135"/>
                <a:gd name="T15" fmla="*/ 130 h 136"/>
                <a:gd name="T16" fmla="*/ 69 w 135"/>
                <a:gd name="T17" fmla="*/ 136 h 136"/>
                <a:gd name="T18" fmla="*/ 40 w 135"/>
                <a:gd name="T19" fmla="*/ 130 h 136"/>
                <a:gd name="T20" fmla="*/ 20 w 135"/>
                <a:gd name="T21" fmla="*/ 116 h 136"/>
                <a:gd name="T22" fmla="*/ 6 w 135"/>
                <a:gd name="T23" fmla="*/ 95 h 136"/>
                <a:gd name="T24" fmla="*/ 0 w 135"/>
                <a:gd name="T25" fmla="*/ 69 h 136"/>
                <a:gd name="T26" fmla="*/ 6 w 135"/>
                <a:gd name="T27" fmla="*/ 44 h 136"/>
                <a:gd name="T28" fmla="*/ 20 w 135"/>
                <a:gd name="T29" fmla="*/ 20 h 136"/>
                <a:gd name="T30" fmla="*/ 40 w 135"/>
                <a:gd name="T31" fmla="*/ 6 h 136"/>
                <a:gd name="T32" fmla="*/ 66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6" y="0"/>
                  </a:moveTo>
                  <a:lnTo>
                    <a:pt x="92" y="6"/>
                  </a:lnTo>
                  <a:lnTo>
                    <a:pt x="115" y="20"/>
                  </a:lnTo>
                  <a:lnTo>
                    <a:pt x="130" y="41"/>
                  </a:lnTo>
                  <a:lnTo>
                    <a:pt x="135" y="67"/>
                  </a:lnTo>
                  <a:lnTo>
                    <a:pt x="130" y="93"/>
                  </a:lnTo>
                  <a:lnTo>
                    <a:pt x="115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0" y="130"/>
                  </a:lnTo>
                  <a:lnTo>
                    <a:pt x="20" y="116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4"/>
                  </a:lnTo>
                  <a:lnTo>
                    <a:pt x="20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9" name="Freeform 17">
              <a:extLst>
                <a:ext uri="{FF2B5EF4-FFF2-40B4-BE49-F238E27FC236}">
                  <a16:creationId xmlns:a16="http://schemas.microsoft.com/office/drawing/2014/main" id="{06A21B25-5F56-47AF-A558-3BC6B9287FF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697875" y="2631516"/>
              <a:ext cx="108808" cy="108808"/>
            </a:xfrm>
            <a:custGeom>
              <a:avLst/>
              <a:gdLst>
                <a:gd name="T0" fmla="*/ 67 w 136"/>
                <a:gd name="T1" fmla="*/ 0 h 136"/>
                <a:gd name="T2" fmla="*/ 93 w 136"/>
                <a:gd name="T3" fmla="*/ 6 h 136"/>
                <a:gd name="T4" fmla="*/ 116 w 136"/>
                <a:gd name="T5" fmla="*/ 20 h 136"/>
                <a:gd name="T6" fmla="*/ 130 w 136"/>
                <a:gd name="T7" fmla="*/ 41 h 136"/>
                <a:gd name="T8" fmla="*/ 136 w 136"/>
                <a:gd name="T9" fmla="*/ 67 h 136"/>
                <a:gd name="T10" fmla="*/ 130 w 136"/>
                <a:gd name="T11" fmla="*/ 95 h 136"/>
                <a:gd name="T12" fmla="*/ 116 w 136"/>
                <a:gd name="T13" fmla="*/ 116 h 136"/>
                <a:gd name="T14" fmla="*/ 96 w 136"/>
                <a:gd name="T15" fmla="*/ 130 h 136"/>
                <a:gd name="T16" fmla="*/ 70 w 136"/>
                <a:gd name="T17" fmla="*/ 136 h 136"/>
                <a:gd name="T18" fmla="*/ 44 w 136"/>
                <a:gd name="T19" fmla="*/ 130 h 136"/>
                <a:gd name="T20" fmla="*/ 21 w 136"/>
                <a:gd name="T21" fmla="*/ 116 h 136"/>
                <a:gd name="T22" fmla="*/ 6 w 136"/>
                <a:gd name="T23" fmla="*/ 95 h 136"/>
                <a:gd name="T24" fmla="*/ 0 w 136"/>
                <a:gd name="T25" fmla="*/ 69 h 136"/>
                <a:gd name="T26" fmla="*/ 6 w 136"/>
                <a:gd name="T27" fmla="*/ 44 h 136"/>
                <a:gd name="T28" fmla="*/ 21 w 136"/>
                <a:gd name="T29" fmla="*/ 20 h 136"/>
                <a:gd name="T30" fmla="*/ 41 w 136"/>
                <a:gd name="T31" fmla="*/ 6 h 136"/>
                <a:gd name="T32" fmla="*/ 67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7" y="0"/>
                  </a:moveTo>
                  <a:lnTo>
                    <a:pt x="93" y="6"/>
                  </a:lnTo>
                  <a:lnTo>
                    <a:pt x="116" y="20"/>
                  </a:lnTo>
                  <a:lnTo>
                    <a:pt x="130" y="41"/>
                  </a:lnTo>
                  <a:lnTo>
                    <a:pt x="136" y="67"/>
                  </a:lnTo>
                  <a:lnTo>
                    <a:pt x="130" y="95"/>
                  </a:lnTo>
                  <a:lnTo>
                    <a:pt x="116" y="116"/>
                  </a:lnTo>
                  <a:lnTo>
                    <a:pt x="96" y="130"/>
                  </a:lnTo>
                  <a:lnTo>
                    <a:pt x="70" y="136"/>
                  </a:lnTo>
                  <a:lnTo>
                    <a:pt x="44" y="130"/>
                  </a:lnTo>
                  <a:lnTo>
                    <a:pt x="21" y="116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4"/>
                  </a:lnTo>
                  <a:lnTo>
                    <a:pt x="21" y="20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10" name="Freeform 18">
              <a:extLst>
                <a:ext uri="{FF2B5EF4-FFF2-40B4-BE49-F238E27FC236}">
                  <a16:creationId xmlns:a16="http://schemas.microsoft.com/office/drawing/2014/main" id="{4469F86B-F552-4338-A8A6-342031459D3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700275" y="3616388"/>
              <a:ext cx="172813" cy="172813"/>
            </a:xfrm>
            <a:custGeom>
              <a:avLst/>
              <a:gdLst>
                <a:gd name="T0" fmla="*/ 115 w 216"/>
                <a:gd name="T1" fmla="*/ 0 h 216"/>
                <a:gd name="T2" fmla="*/ 150 w 216"/>
                <a:gd name="T3" fmla="*/ 6 h 216"/>
                <a:gd name="T4" fmla="*/ 179 w 216"/>
                <a:gd name="T5" fmla="*/ 26 h 216"/>
                <a:gd name="T6" fmla="*/ 202 w 216"/>
                <a:gd name="T7" fmla="*/ 49 h 216"/>
                <a:gd name="T8" fmla="*/ 213 w 216"/>
                <a:gd name="T9" fmla="*/ 81 h 216"/>
                <a:gd name="T10" fmla="*/ 216 w 216"/>
                <a:gd name="T11" fmla="*/ 115 h 216"/>
                <a:gd name="T12" fmla="*/ 210 w 216"/>
                <a:gd name="T13" fmla="*/ 150 h 216"/>
                <a:gd name="T14" fmla="*/ 190 w 216"/>
                <a:gd name="T15" fmla="*/ 179 h 216"/>
                <a:gd name="T16" fmla="*/ 164 w 216"/>
                <a:gd name="T17" fmla="*/ 202 h 216"/>
                <a:gd name="T18" fmla="*/ 135 w 216"/>
                <a:gd name="T19" fmla="*/ 213 h 216"/>
                <a:gd name="T20" fmla="*/ 101 w 216"/>
                <a:gd name="T21" fmla="*/ 216 h 216"/>
                <a:gd name="T22" fmla="*/ 66 w 216"/>
                <a:gd name="T23" fmla="*/ 210 h 216"/>
                <a:gd name="T24" fmla="*/ 37 w 216"/>
                <a:gd name="T25" fmla="*/ 190 h 216"/>
                <a:gd name="T26" fmla="*/ 14 w 216"/>
                <a:gd name="T27" fmla="*/ 164 h 216"/>
                <a:gd name="T28" fmla="*/ 3 w 216"/>
                <a:gd name="T29" fmla="*/ 135 h 216"/>
                <a:gd name="T30" fmla="*/ 0 w 216"/>
                <a:gd name="T31" fmla="*/ 101 h 216"/>
                <a:gd name="T32" fmla="*/ 8 w 216"/>
                <a:gd name="T33" fmla="*/ 66 h 216"/>
                <a:gd name="T34" fmla="*/ 26 w 216"/>
                <a:gd name="T35" fmla="*/ 37 h 216"/>
                <a:gd name="T36" fmla="*/ 52 w 216"/>
                <a:gd name="T37" fmla="*/ 14 h 216"/>
                <a:gd name="T38" fmla="*/ 81 w 216"/>
                <a:gd name="T39" fmla="*/ 3 h 216"/>
                <a:gd name="T40" fmla="*/ 115 w 216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6">
                  <a:moveTo>
                    <a:pt x="115" y="0"/>
                  </a:moveTo>
                  <a:lnTo>
                    <a:pt x="150" y="6"/>
                  </a:lnTo>
                  <a:lnTo>
                    <a:pt x="179" y="26"/>
                  </a:lnTo>
                  <a:lnTo>
                    <a:pt x="202" y="49"/>
                  </a:lnTo>
                  <a:lnTo>
                    <a:pt x="213" y="81"/>
                  </a:lnTo>
                  <a:lnTo>
                    <a:pt x="216" y="115"/>
                  </a:lnTo>
                  <a:lnTo>
                    <a:pt x="210" y="150"/>
                  </a:lnTo>
                  <a:lnTo>
                    <a:pt x="190" y="179"/>
                  </a:lnTo>
                  <a:lnTo>
                    <a:pt x="164" y="202"/>
                  </a:lnTo>
                  <a:lnTo>
                    <a:pt x="135" y="213"/>
                  </a:lnTo>
                  <a:lnTo>
                    <a:pt x="101" y="216"/>
                  </a:lnTo>
                  <a:lnTo>
                    <a:pt x="66" y="210"/>
                  </a:lnTo>
                  <a:lnTo>
                    <a:pt x="37" y="190"/>
                  </a:lnTo>
                  <a:lnTo>
                    <a:pt x="14" y="164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8" y="66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11" name="Freeform 19">
              <a:extLst>
                <a:ext uri="{FF2B5EF4-FFF2-40B4-BE49-F238E27FC236}">
                  <a16:creationId xmlns:a16="http://schemas.microsoft.com/office/drawing/2014/main" id="{5265DEC2-3264-492D-9B8F-357D9CFCCA2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536263" y="3545182"/>
              <a:ext cx="108808" cy="108008"/>
            </a:xfrm>
            <a:custGeom>
              <a:avLst/>
              <a:gdLst>
                <a:gd name="T0" fmla="*/ 69 w 136"/>
                <a:gd name="T1" fmla="*/ 0 h 135"/>
                <a:gd name="T2" fmla="*/ 95 w 136"/>
                <a:gd name="T3" fmla="*/ 6 h 135"/>
                <a:gd name="T4" fmla="*/ 116 w 136"/>
                <a:gd name="T5" fmla="*/ 20 h 135"/>
                <a:gd name="T6" fmla="*/ 130 w 136"/>
                <a:gd name="T7" fmla="*/ 43 h 135"/>
                <a:gd name="T8" fmla="*/ 136 w 136"/>
                <a:gd name="T9" fmla="*/ 69 h 135"/>
                <a:gd name="T10" fmla="*/ 130 w 136"/>
                <a:gd name="T11" fmla="*/ 95 h 135"/>
                <a:gd name="T12" fmla="*/ 116 w 136"/>
                <a:gd name="T13" fmla="*/ 118 h 135"/>
                <a:gd name="T14" fmla="*/ 95 w 136"/>
                <a:gd name="T15" fmla="*/ 133 h 135"/>
                <a:gd name="T16" fmla="*/ 69 w 136"/>
                <a:gd name="T17" fmla="*/ 135 h 135"/>
                <a:gd name="T18" fmla="*/ 43 w 136"/>
                <a:gd name="T19" fmla="*/ 133 h 135"/>
                <a:gd name="T20" fmla="*/ 20 w 136"/>
                <a:gd name="T21" fmla="*/ 118 h 135"/>
                <a:gd name="T22" fmla="*/ 6 w 136"/>
                <a:gd name="T23" fmla="*/ 95 h 135"/>
                <a:gd name="T24" fmla="*/ 0 w 136"/>
                <a:gd name="T25" fmla="*/ 69 h 135"/>
                <a:gd name="T26" fmla="*/ 6 w 136"/>
                <a:gd name="T27" fmla="*/ 43 h 135"/>
                <a:gd name="T28" fmla="*/ 20 w 136"/>
                <a:gd name="T29" fmla="*/ 20 h 135"/>
                <a:gd name="T30" fmla="*/ 43 w 136"/>
                <a:gd name="T31" fmla="*/ 6 h 135"/>
                <a:gd name="T32" fmla="*/ 69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9" y="0"/>
                  </a:moveTo>
                  <a:lnTo>
                    <a:pt x="95" y="6"/>
                  </a:lnTo>
                  <a:lnTo>
                    <a:pt x="116" y="20"/>
                  </a:lnTo>
                  <a:lnTo>
                    <a:pt x="130" y="43"/>
                  </a:lnTo>
                  <a:lnTo>
                    <a:pt x="136" y="69"/>
                  </a:lnTo>
                  <a:lnTo>
                    <a:pt x="130" y="95"/>
                  </a:lnTo>
                  <a:lnTo>
                    <a:pt x="116" y="118"/>
                  </a:lnTo>
                  <a:lnTo>
                    <a:pt x="95" y="133"/>
                  </a:lnTo>
                  <a:lnTo>
                    <a:pt x="69" y="135"/>
                  </a:lnTo>
                  <a:lnTo>
                    <a:pt x="43" y="133"/>
                  </a:lnTo>
                  <a:lnTo>
                    <a:pt x="20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12" name="Freeform 20">
              <a:extLst>
                <a:ext uri="{FF2B5EF4-FFF2-40B4-BE49-F238E27FC236}">
                  <a16:creationId xmlns:a16="http://schemas.microsoft.com/office/drawing/2014/main" id="{90E0A660-F3AE-4025-A4B1-FB7AEBDF9DF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397852" y="3369970"/>
              <a:ext cx="111208" cy="108008"/>
            </a:xfrm>
            <a:custGeom>
              <a:avLst/>
              <a:gdLst>
                <a:gd name="T0" fmla="*/ 69 w 139"/>
                <a:gd name="T1" fmla="*/ 0 h 135"/>
                <a:gd name="T2" fmla="*/ 95 w 139"/>
                <a:gd name="T3" fmla="*/ 6 h 135"/>
                <a:gd name="T4" fmla="*/ 118 w 139"/>
                <a:gd name="T5" fmla="*/ 20 h 135"/>
                <a:gd name="T6" fmla="*/ 133 w 139"/>
                <a:gd name="T7" fmla="*/ 43 h 135"/>
                <a:gd name="T8" fmla="*/ 139 w 139"/>
                <a:gd name="T9" fmla="*/ 69 h 135"/>
                <a:gd name="T10" fmla="*/ 133 w 139"/>
                <a:gd name="T11" fmla="*/ 95 h 135"/>
                <a:gd name="T12" fmla="*/ 118 w 139"/>
                <a:gd name="T13" fmla="*/ 118 h 135"/>
                <a:gd name="T14" fmla="*/ 95 w 139"/>
                <a:gd name="T15" fmla="*/ 133 h 135"/>
                <a:gd name="T16" fmla="*/ 69 w 139"/>
                <a:gd name="T17" fmla="*/ 135 h 135"/>
                <a:gd name="T18" fmla="*/ 44 w 139"/>
                <a:gd name="T19" fmla="*/ 133 h 135"/>
                <a:gd name="T20" fmla="*/ 20 w 139"/>
                <a:gd name="T21" fmla="*/ 118 h 135"/>
                <a:gd name="T22" fmla="*/ 6 w 139"/>
                <a:gd name="T23" fmla="*/ 95 h 135"/>
                <a:gd name="T24" fmla="*/ 0 w 139"/>
                <a:gd name="T25" fmla="*/ 69 h 135"/>
                <a:gd name="T26" fmla="*/ 6 w 139"/>
                <a:gd name="T27" fmla="*/ 43 h 135"/>
                <a:gd name="T28" fmla="*/ 20 w 139"/>
                <a:gd name="T29" fmla="*/ 20 h 135"/>
                <a:gd name="T30" fmla="*/ 44 w 139"/>
                <a:gd name="T31" fmla="*/ 6 h 135"/>
                <a:gd name="T32" fmla="*/ 69 w 139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5">
                  <a:moveTo>
                    <a:pt x="69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3" y="43"/>
                  </a:lnTo>
                  <a:lnTo>
                    <a:pt x="139" y="69"/>
                  </a:lnTo>
                  <a:lnTo>
                    <a:pt x="133" y="95"/>
                  </a:lnTo>
                  <a:lnTo>
                    <a:pt x="118" y="118"/>
                  </a:lnTo>
                  <a:lnTo>
                    <a:pt x="95" y="133"/>
                  </a:lnTo>
                  <a:lnTo>
                    <a:pt x="69" y="135"/>
                  </a:lnTo>
                  <a:lnTo>
                    <a:pt x="44" y="133"/>
                  </a:lnTo>
                  <a:lnTo>
                    <a:pt x="20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4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13" name="Freeform 21">
              <a:extLst>
                <a:ext uri="{FF2B5EF4-FFF2-40B4-BE49-F238E27FC236}">
                  <a16:creationId xmlns:a16="http://schemas.microsoft.com/office/drawing/2014/main" id="{6FAB81DD-B9E8-4E9A-A6C7-66F222F4DCA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345049" y="3153154"/>
              <a:ext cx="108808" cy="108008"/>
            </a:xfrm>
            <a:custGeom>
              <a:avLst/>
              <a:gdLst>
                <a:gd name="T0" fmla="*/ 67 w 136"/>
                <a:gd name="T1" fmla="*/ 0 h 135"/>
                <a:gd name="T2" fmla="*/ 93 w 136"/>
                <a:gd name="T3" fmla="*/ 6 h 135"/>
                <a:gd name="T4" fmla="*/ 116 w 136"/>
                <a:gd name="T5" fmla="*/ 20 h 135"/>
                <a:gd name="T6" fmla="*/ 130 w 136"/>
                <a:gd name="T7" fmla="*/ 40 h 135"/>
                <a:gd name="T8" fmla="*/ 136 w 136"/>
                <a:gd name="T9" fmla="*/ 66 h 135"/>
                <a:gd name="T10" fmla="*/ 130 w 136"/>
                <a:gd name="T11" fmla="*/ 92 h 135"/>
                <a:gd name="T12" fmla="*/ 116 w 136"/>
                <a:gd name="T13" fmla="*/ 115 h 135"/>
                <a:gd name="T14" fmla="*/ 93 w 136"/>
                <a:gd name="T15" fmla="*/ 130 h 135"/>
                <a:gd name="T16" fmla="*/ 70 w 136"/>
                <a:gd name="T17" fmla="*/ 135 h 135"/>
                <a:gd name="T18" fmla="*/ 44 w 136"/>
                <a:gd name="T19" fmla="*/ 130 h 135"/>
                <a:gd name="T20" fmla="*/ 21 w 136"/>
                <a:gd name="T21" fmla="*/ 115 h 135"/>
                <a:gd name="T22" fmla="*/ 6 w 136"/>
                <a:gd name="T23" fmla="*/ 95 h 135"/>
                <a:gd name="T24" fmla="*/ 0 w 136"/>
                <a:gd name="T25" fmla="*/ 69 h 135"/>
                <a:gd name="T26" fmla="*/ 3 w 136"/>
                <a:gd name="T27" fmla="*/ 43 h 135"/>
                <a:gd name="T28" fmla="*/ 21 w 136"/>
                <a:gd name="T29" fmla="*/ 20 h 135"/>
                <a:gd name="T30" fmla="*/ 41 w 136"/>
                <a:gd name="T31" fmla="*/ 6 h 135"/>
                <a:gd name="T32" fmla="*/ 67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7" y="0"/>
                  </a:moveTo>
                  <a:lnTo>
                    <a:pt x="93" y="6"/>
                  </a:lnTo>
                  <a:lnTo>
                    <a:pt x="116" y="20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0" y="92"/>
                  </a:lnTo>
                  <a:lnTo>
                    <a:pt x="116" y="115"/>
                  </a:lnTo>
                  <a:lnTo>
                    <a:pt x="93" y="130"/>
                  </a:lnTo>
                  <a:lnTo>
                    <a:pt x="70" y="135"/>
                  </a:lnTo>
                  <a:lnTo>
                    <a:pt x="44" y="130"/>
                  </a:lnTo>
                  <a:lnTo>
                    <a:pt x="21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3" y="43"/>
                  </a:lnTo>
                  <a:lnTo>
                    <a:pt x="21" y="20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14" name="Freeform 22">
              <a:extLst>
                <a:ext uri="{FF2B5EF4-FFF2-40B4-BE49-F238E27FC236}">
                  <a16:creationId xmlns:a16="http://schemas.microsoft.com/office/drawing/2014/main" id="{9DB558EE-DB2E-404D-AE52-96F38A13D13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217840" y="2866733"/>
              <a:ext cx="108808" cy="108808"/>
            </a:xfrm>
            <a:custGeom>
              <a:avLst/>
              <a:gdLst>
                <a:gd name="T0" fmla="*/ 66 w 136"/>
                <a:gd name="T1" fmla="*/ 0 h 136"/>
                <a:gd name="T2" fmla="*/ 92 w 136"/>
                <a:gd name="T3" fmla="*/ 6 h 136"/>
                <a:gd name="T4" fmla="*/ 115 w 136"/>
                <a:gd name="T5" fmla="*/ 21 h 136"/>
                <a:gd name="T6" fmla="*/ 130 w 136"/>
                <a:gd name="T7" fmla="*/ 41 h 136"/>
                <a:gd name="T8" fmla="*/ 136 w 136"/>
                <a:gd name="T9" fmla="*/ 67 h 136"/>
                <a:gd name="T10" fmla="*/ 130 w 136"/>
                <a:gd name="T11" fmla="*/ 95 h 136"/>
                <a:gd name="T12" fmla="*/ 115 w 136"/>
                <a:gd name="T13" fmla="*/ 116 h 136"/>
                <a:gd name="T14" fmla="*/ 92 w 136"/>
                <a:gd name="T15" fmla="*/ 130 h 136"/>
                <a:gd name="T16" fmla="*/ 66 w 136"/>
                <a:gd name="T17" fmla="*/ 136 h 136"/>
                <a:gd name="T18" fmla="*/ 40 w 136"/>
                <a:gd name="T19" fmla="*/ 130 h 136"/>
                <a:gd name="T20" fmla="*/ 17 w 136"/>
                <a:gd name="T21" fmla="*/ 116 h 136"/>
                <a:gd name="T22" fmla="*/ 3 w 136"/>
                <a:gd name="T23" fmla="*/ 95 h 136"/>
                <a:gd name="T24" fmla="*/ 0 w 136"/>
                <a:gd name="T25" fmla="*/ 69 h 136"/>
                <a:gd name="T26" fmla="*/ 3 w 136"/>
                <a:gd name="T27" fmla="*/ 44 h 136"/>
                <a:gd name="T28" fmla="*/ 17 w 136"/>
                <a:gd name="T29" fmla="*/ 21 h 136"/>
                <a:gd name="T30" fmla="*/ 40 w 136"/>
                <a:gd name="T31" fmla="*/ 6 h 136"/>
                <a:gd name="T32" fmla="*/ 66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6" y="0"/>
                  </a:moveTo>
                  <a:lnTo>
                    <a:pt x="92" y="6"/>
                  </a:lnTo>
                  <a:lnTo>
                    <a:pt x="115" y="21"/>
                  </a:lnTo>
                  <a:lnTo>
                    <a:pt x="130" y="41"/>
                  </a:lnTo>
                  <a:lnTo>
                    <a:pt x="136" y="67"/>
                  </a:lnTo>
                  <a:lnTo>
                    <a:pt x="130" y="95"/>
                  </a:lnTo>
                  <a:lnTo>
                    <a:pt x="115" y="116"/>
                  </a:lnTo>
                  <a:lnTo>
                    <a:pt x="92" y="130"/>
                  </a:lnTo>
                  <a:lnTo>
                    <a:pt x="66" y="136"/>
                  </a:lnTo>
                  <a:lnTo>
                    <a:pt x="40" y="130"/>
                  </a:lnTo>
                  <a:lnTo>
                    <a:pt x="17" y="116"/>
                  </a:lnTo>
                  <a:lnTo>
                    <a:pt x="3" y="95"/>
                  </a:lnTo>
                  <a:lnTo>
                    <a:pt x="0" y="69"/>
                  </a:lnTo>
                  <a:lnTo>
                    <a:pt x="3" y="44"/>
                  </a:lnTo>
                  <a:lnTo>
                    <a:pt x="17" y="21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15" name="Freeform 23">
              <a:extLst>
                <a:ext uri="{FF2B5EF4-FFF2-40B4-BE49-F238E27FC236}">
                  <a16:creationId xmlns:a16="http://schemas.microsoft.com/office/drawing/2014/main" id="{027E977C-FD46-4CAE-85DE-9B289FAAB0E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301046" y="2641116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0 w 219"/>
                <a:gd name="T3" fmla="*/ 6 h 219"/>
                <a:gd name="T4" fmla="*/ 181 w 219"/>
                <a:gd name="T5" fmla="*/ 26 h 219"/>
                <a:gd name="T6" fmla="*/ 204 w 219"/>
                <a:gd name="T7" fmla="*/ 52 h 219"/>
                <a:gd name="T8" fmla="*/ 216 w 219"/>
                <a:gd name="T9" fmla="*/ 81 h 219"/>
                <a:gd name="T10" fmla="*/ 219 w 219"/>
                <a:gd name="T11" fmla="*/ 115 h 219"/>
                <a:gd name="T12" fmla="*/ 210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8 w 219"/>
                <a:gd name="T19" fmla="*/ 213 h 219"/>
                <a:gd name="T20" fmla="*/ 103 w 219"/>
                <a:gd name="T21" fmla="*/ 219 h 219"/>
                <a:gd name="T22" fmla="*/ 69 w 219"/>
                <a:gd name="T23" fmla="*/ 211 h 219"/>
                <a:gd name="T24" fmla="*/ 40 w 219"/>
                <a:gd name="T25" fmla="*/ 193 h 219"/>
                <a:gd name="T26" fmla="*/ 17 w 219"/>
                <a:gd name="T27" fmla="*/ 167 h 219"/>
                <a:gd name="T28" fmla="*/ 3 w 219"/>
                <a:gd name="T29" fmla="*/ 136 h 219"/>
                <a:gd name="T30" fmla="*/ 0 w 219"/>
                <a:gd name="T31" fmla="*/ 101 h 219"/>
                <a:gd name="T32" fmla="*/ 8 w 219"/>
                <a:gd name="T33" fmla="*/ 66 h 219"/>
                <a:gd name="T34" fmla="*/ 26 w 219"/>
                <a:gd name="T35" fmla="*/ 38 h 219"/>
                <a:gd name="T36" fmla="*/ 52 w 219"/>
                <a:gd name="T37" fmla="*/ 15 h 219"/>
                <a:gd name="T38" fmla="*/ 83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0" y="6"/>
                  </a:lnTo>
                  <a:lnTo>
                    <a:pt x="181" y="26"/>
                  </a:lnTo>
                  <a:lnTo>
                    <a:pt x="204" y="52"/>
                  </a:lnTo>
                  <a:lnTo>
                    <a:pt x="216" y="81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8" y="213"/>
                  </a:lnTo>
                  <a:lnTo>
                    <a:pt x="103" y="219"/>
                  </a:lnTo>
                  <a:lnTo>
                    <a:pt x="69" y="211"/>
                  </a:lnTo>
                  <a:lnTo>
                    <a:pt x="40" y="193"/>
                  </a:lnTo>
                  <a:lnTo>
                    <a:pt x="17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8" y="66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16" name="Freeform 24">
              <a:extLst>
                <a:ext uri="{FF2B5EF4-FFF2-40B4-BE49-F238E27FC236}">
                  <a16:creationId xmlns:a16="http://schemas.microsoft.com/office/drawing/2014/main" id="{0EA58E74-CFD5-4A9E-9D04-C154201AE510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469858" y="2495506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0 w 219"/>
                <a:gd name="T3" fmla="*/ 8 h 219"/>
                <a:gd name="T4" fmla="*/ 182 w 219"/>
                <a:gd name="T5" fmla="*/ 26 h 219"/>
                <a:gd name="T6" fmla="*/ 202 w 219"/>
                <a:gd name="T7" fmla="*/ 52 h 219"/>
                <a:gd name="T8" fmla="*/ 216 w 219"/>
                <a:gd name="T9" fmla="*/ 83 h 219"/>
                <a:gd name="T10" fmla="*/ 219 w 219"/>
                <a:gd name="T11" fmla="*/ 115 h 219"/>
                <a:gd name="T12" fmla="*/ 211 w 219"/>
                <a:gd name="T13" fmla="*/ 150 h 219"/>
                <a:gd name="T14" fmla="*/ 193 w 219"/>
                <a:gd name="T15" fmla="*/ 181 h 219"/>
                <a:gd name="T16" fmla="*/ 167 w 219"/>
                <a:gd name="T17" fmla="*/ 202 h 219"/>
                <a:gd name="T18" fmla="*/ 136 w 219"/>
                <a:gd name="T19" fmla="*/ 216 h 219"/>
                <a:gd name="T20" fmla="*/ 104 w 219"/>
                <a:gd name="T21" fmla="*/ 219 h 219"/>
                <a:gd name="T22" fmla="*/ 69 w 219"/>
                <a:gd name="T23" fmla="*/ 210 h 219"/>
                <a:gd name="T24" fmla="*/ 38 w 219"/>
                <a:gd name="T25" fmla="*/ 193 h 219"/>
                <a:gd name="T26" fmla="*/ 17 w 219"/>
                <a:gd name="T27" fmla="*/ 167 h 219"/>
                <a:gd name="T28" fmla="*/ 3 w 219"/>
                <a:gd name="T29" fmla="*/ 135 h 219"/>
                <a:gd name="T30" fmla="*/ 0 w 219"/>
                <a:gd name="T31" fmla="*/ 104 h 219"/>
                <a:gd name="T32" fmla="*/ 9 w 219"/>
                <a:gd name="T33" fmla="*/ 69 h 219"/>
                <a:gd name="T34" fmla="*/ 26 w 219"/>
                <a:gd name="T35" fmla="*/ 37 h 219"/>
                <a:gd name="T36" fmla="*/ 52 w 219"/>
                <a:gd name="T37" fmla="*/ 17 h 219"/>
                <a:gd name="T38" fmla="*/ 84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0" y="8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3"/>
                  </a:lnTo>
                  <a:lnTo>
                    <a:pt x="219" y="115"/>
                  </a:lnTo>
                  <a:lnTo>
                    <a:pt x="211" y="150"/>
                  </a:lnTo>
                  <a:lnTo>
                    <a:pt x="193" y="181"/>
                  </a:lnTo>
                  <a:lnTo>
                    <a:pt x="167" y="202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69" y="210"/>
                  </a:lnTo>
                  <a:lnTo>
                    <a:pt x="38" y="193"/>
                  </a:lnTo>
                  <a:lnTo>
                    <a:pt x="17" y="167"/>
                  </a:lnTo>
                  <a:lnTo>
                    <a:pt x="3" y="135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4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17" name="Freeform 25">
              <a:extLst>
                <a:ext uri="{FF2B5EF4-FFF2-40B4-BE49-F238E27FC236}">
                  <a16:creationId xmlns:a16="http://schemas.microsoft.com/office/drawing/2014/main" id="{5DA54CEC-390D-48B6-8BB7-CCFE8D0D251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674673" y="2408300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81 w 219"/>
                <a:gd name="T5" fmla="*/ 26 h 219"/>
                <a:gd name="T6" fmla="*/ 201 w 219"/>
                <a:gd name="T7" fmla="*/ 52 h 219"/>
                <a:gd name="T8" fmla="*/ 216 w 219"/>
                <a:gd name="T9" fmla="*/ 81 h 219"/>
                <a:gd name="T10" fmla="*/ 219 w 219"/>
                <a:gd name="T11" fmla="*/ 116 h 219"/>
                <a:gd name="T12" fmla="*/ 210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5 w 219"/>
                <a:gd name="T19" fmla="*/ 216 h 219"/>
                <a:gd name="T20" fmla="*/ 101 w 219"/>
                <a:gd name="T21" fmla="*/ 219 h 219"/>
                <a:gd name="T22" fmla="*/ 66 w 219"/>
                <a:gd name="T23" fmla="*/ 211 h 219"/>
                <a:gd name="T24" fmla="*/ 37 w 219"/>
                <a:gd name="T25" fmla="*/ 193 h 219"/>
                <a:gd name="T26" fmla="*/ 17 w 219"/>
                <a:gd name="T27" fmla="*/ 167 h 219"/>
                <a:gd name="T28" fmla="*/ 3 w 219"/>
                <a:gd name="T29" fmla="*/ 136 h 219"/>
                <a:gd name="T30" fmla="*/ 0 w 219"/>
                <a:gd name="T31" fmla="*/ 101 h 219"/>
                <a:gd name="T32" fmla="*/ 8 w 219"/>
                <a:gd name="T33" fmla="*/ 69 h 219"/>
                <a:gd name="T34" fmla="*/ 26 w 219"/>
                <a:gd name="T35" fmla="*/ 38 h 219"/>
                <a:gd name="T36" fmla="*/ 52 w 219"/>
                <a:gd name="T37" fmla="*/ 18 h 219"/>
                <a:gd name="T38" fmla="*/ 83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81" y="26"/>
                  </a:lnTo>
                  <a:lnTo>
                    <a:pt x="201" y="52"/>
                  </a:lnTo>
                  <a:lnTo>
                    <a:pt x="216" y="81"/>
                  </a:lnTo>
                  <a:lnTo>
                    <a:pt x="219" y="116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6" y="211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8" y="69"/>
                  </a:lnTo>
                  <a:lnTo>
                    <a:pt x="26" y="38"/>
                  </a:lnTo>
                  <a:lnTo>
                    <a:pt x="52" y="18"/>
                  </a:lnTo>
                  <a:lnTo>
                    <a:pt x="83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18" name="Freeform 26">
              <a:extLst>
                <a:ext uri="{FF2B5EF4-FFF2-40B4-BE49-F238E27FC236}">
                  <a16:creationId xmlns:a16="http://schemas.microsoft.com/office/drawing/2014/main" id="{A2B81B14-0A8E-403C-8CB1-44CE9BB77D7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930692" y="2421901"/>
              <a:ext cx="108808" cy="110408"/>
            </a:xfrm>
            <a:custGeom>
              <a:avLst/>
              <a:gdLst>
                <a:gd name="T0" fmla="*/ 67 w 136"/>
                <a:gd name="T1" fmla="*/ 0 h 138"/>
                <a:gd name="T2" fmla="*/ 92 w 136"/>
                <a:gd name="T3" fmla="*/ 5 h 138"/>
                <a:gd name="T4" fmla="*/ 116 w 136"/>
                <a:gd name="T5" fmla="*/ 20 h 138"/>
                <a:gd name="T6" fmla="*/ 130 w 136"/>
                <a:gd name="T7" fmla="*/ 43 h 138"/>
                <a:gd name="T8" fmla="*/ 136 w 136"/>
                <a:gd name="T9" fmla="*/ 69 h 138"/>
                <a:gd name="T10" fmla="*/ 130 w 136"/>
                <a:gd name="T11" fmla="*/ 95 h 138"/>
                <a:gd name="T12" fmla="*/ 116 w 136"/>
                <a:gd name="T13" fmla="*/ 118 h 138"/>
                <a:gd name="T14" fmla="*/ 95 w 136"/>
                <a:gd name="T15" fmla="*/ 132 h 138"/>
                <a:gd name="T16" fmla="*/ 69 w 136"/>
                <a:gd name="T17" fmla="*/ 138 h 138"/>
                <a:gd name="T18" fmla="*/ 43 w 136"/>
                <a:gd name="T19" fmla="*/ 132 h 138"/>
                <a:gd name="T20" fmla="*/ 20 w 136"/>
                <a:gd name="T21" fmla="*/ 118 h 138"/>
                <a:gd name="T22" fmla="*/ 6 w 136"/>
                <a:gd name="T23" fmla="*/ 95 h 138"/>
                <a:gd name="T24" fmla="*/ 0 w 136"/>
                <a:gd name="T25" fmla="*/ 69 h 138"/>
                <a:gd name="T26" fmla="*/ 6 w 136"/>
                <a:gd name="T27" fmla="*/ 43 h 138"/>
                <a:gd name="T28" fmla="*/ 20 w 136"/>
                <a:gd name="T29" fmla="*/ 20 h 138"/>
                <a:gd name="T30" fmla="*/ 41 w 136"/>
                <a:gd name="T31" fmla="*/ 5 h 138"/>
                <a:gd name="T32" fmla="*/ 67 w 136"/>
                <a:gd name="T3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8">
                  <a:moveTo>
                    <a:pt x="67" y="0"/>
                  </a:moveTo>
                  <a:lnTo>
                    <a:pt x="92" y="5"/>
                  </a:lnTo>
                  <a:lnTo>
                    <a:pt x="116" y="20"/>
                  </a:lnTo>
                  <a:lnTo>
                    <a:pt x="130" y="43"/>
                  </a:lnTo>
                  <a:lnTo>
                    <a:pt x="136" y="69"/>
                  </a:lnTo>
                  <a:lnTo>
                    <a:pt x="130" y="95"/>
                  </a:lnTo>
                  <a:lnTo>
                    <a:pt x="116" y="118"/>
                  </a:lnTo>
                  <a:lnTo>
                    <a:pt x="95" y="132"/>
                  </a:lnTo>
                  <a:lnTo>
                    <a:pt x="69" y="138"/>
                  </a:lnTo>
                  <a:lnTo>
                    <a:pt x="43" y="132"/>
                  </a:lnTo>
                  <a:lnTo>
                    <a:pt x="20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1" y="5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19" name="Freeform 27">
              <a:extLst>
                <a:ext uri="{FF2B5EF4-FFF2-40B4-BE49-F238E27FC236}">
                  <a16:creationId xmlns:a16="http://schemas.microsoft.com/office/drawing/2014/main" id="{F9B0FC67-BC33-486D-B3F2-EFF948C4C2B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2147507" y="2472304"/>
              <a:ext cx="108808" cy="108808"/>
            </a:xfrm>
            <a:custGeom>
              <a:avLst/>
              <a:gdLst>
                <a:gd name="T0" fmla="*/ 67 w 136"/>
                <a:gd name="T1" fmla="*/ 0 h 136"/>
                <a:gd name="T2" fmla="*/ 92 w 136"/>
                <a:gd name="T3" fmla="*/ 3 h 136"/>
                <a:gd name="T4" fmla="*/ 116 w 136"/>
                <a:gd name="T5" fmla="*/ 17 h 136"/>
                <a:gd name="T6" fmla="*/ 130 w 136"/>
                <a:gd name="T7" fmla="*/ 41 h 136"/>
                <a:gd name="T8" fmla="*/ 136 w 136"/>
                <a:gd name="T9" fmla="*/ 66 h 136"/>
                <a:gd name="T10" fmla="*/ 130 w 136"/>
                <a:gd name="T11" fmla="*/ 92 h 136"/>
                <a:gd name="T12" fmla="*/ 116 w 136"/>
                <a:gd name="T13" fmla="*/ 115 h 136"/>
                <a:gd name="T14" fmla="*/ 92 w 136"/>
                <a:gd name="T15" fmla="*/ 130 h 136"/>
                <a:gd name="T16" fmla="*/ 69 w 136"/>
                <a:gd name="T17" fmla="*/ 136 h 136"/>
                <a:gd name="T18" fmla="*/ 41 w 136"/>
                <a:gd name="T19" fmla="*/ 130 h 136"/>
                <a:gd name="T20" fmla="*/ 18 w 136"/>
                <a:gd name="T21" fmla="*/ 115 h 136"/>
                <a:gd name="T22" fmla="*/ 3 w 136"/>
                <a:gd name="T23" fmla="*/ 95 h 136"/>
                <a:gd name="T24" fmla="*/ 0 w 136"/>
                <a:gd name="T25" fmla="*/ 69 h 136"/>
                <a:gd name="T26" fmla="*/ 3 w 136"/>
                <a:gd name="T27" fmla="*/ 41 h 136"/>
                <a:gd name="T28" fmla="*/ 18 w 136"/>
                <a:gd name="T29" fmla="*/ 17 h 136"/>
                <a:gd name="T30" fmla="*/ 41 w 136"/>
                <a:gd name="T31" fmla="*/ 3 h 136"/>
                <a:gd name="T32" fmla="*/ 67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7" y="0"/>
                  </a:moveTo>
                  <a:lnTo>
                    <a:pt x="92" y="3"/>
                  </a:lnTo>
                  <a:lnTo>
                    <a:pt x="116" y="17"/>
                  </a:lnTo>
                  <a:lnTo>
                    <a:pt x="130" y="41"/>
                  </a:lnTo>
                  <a:lnTo>
                    <a:pt x="136" y="66"/>
                  </a:lnTo>
                  <a:lnTo>
                    <a:pt x="130" y="92"/>
                  </a:lnTo>
                  <a:lnTo>
                    <a:pt x="116" y="115"/>
                  </a:lnTo>
                  <a:lnTo>
                    <a:pt x="92" y="130"/>
                  </a:lnTo>
                  <a:lnTo>
                    <a:pt x="69" y="136"/>
                  </a:lnTo>
                  <a:lnTo>
                    <a:pt x="41" y="130"/>
                  </a:lnTo>
                  <a:lnTo>
                    <a:pt x="18" y="115"/>
                  </a:lnTo>
                  <a:lnTo>
                    <a:pt x="3" y="95"/>
                  </a:lnTo>
                  <a:lnTo>
                    <a:pt x="0" y="69"/>
                  </a:lnTo>
                  <a:lnTo>
                    <a:pt x="3" y="41"/>
                  </a:lnTo>
                  <a:lnTo>
                    <a:pt x="18" y="17"/>
                  </a:lnTo>
                  <a:lnTo>
                    <a:pt x="41" y="3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0" name="Freeform 28">
              <a:extLst>
                <a:ext uri="{FF2B5EF4-FFF2-40B4-BE49-F238E27FC236}">
                  <a16:creationId xmlns:a16="http://schemas.microsoft.com/office/drawing/2014/main" id="{BAB0983D-2DCC-4678-AC5E-8351983FB45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2018698" y="3794001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82 w 219"/>
                <a:gd name="T5" fmla="*/ 26 h 219"/>
                <a:gd name="T6" fmla="*/ 202 w 219"/>
                <a:gd name="T7" fmla="*/ 52 h 219"/>
                <a:gd name="T8" fmla="*/ 216 w 219"/>
                <a:gd name="T9" fmla="*/ 84 h 219"/>
                <a:gd name="T10" fmla="*/ 219 w 219"/>
                <a:gd name="T11" fmla="*/ 118 h 219"/>
                <a:gd name="T12" fmla="*/ 211 w 219"/>
                <a:gd name="T13" fmla="*/ 150 h 219"/>
                <a:gd name="T14" fmla="*/ 193 w 219"/>
                <a:gd name="T15" fmla="*/ 182 h 219"/>
                <a:gd name="T16" fmla="*/ 167 w 219"/>
                <a:gd name="T17" fmla="*/ 202 h 219"/>
                <a:gd name="T18" fmla="*/ 136 w 219"/>
                <a:gd name="T19" fmla="*/ 216 h 219"/>
                <a:gd name="T20" fmla="*/ 104 w 219"/>
                <a:gd name="T21" fmla="*/ 219 h 219"/>
                <a:gd name="T22" fmla="*/ 69 w 219"/>
                <a:gd name="T23" fmla="*/ 211 h 219"/>
                <a:gd name="T24" fmla="*/ 38 w 219"/>
                <a:gd name="T25" fmla="*/ 193 h 219"/>
                <a:gd name="T26" fmla="*/ 17 w 219"/>
                <a:gd name="T27" fmla="*/ 167 h 219"/>
                <a:gd name="T28" fmla="*/ 3 w 219"/>
                <a:gd name="T29" fmla="*/ 136 h 219"/>
                <a:gd name="T30" fmla="*/ 0 w 219"/>
                <a:gd name="T31" fmla="*/ 104 h 219"/>
                <a:gd name="T32" fmla="*/ 9 w 219"/>
                <a:gd name="T33" fmla="*/ 69 h 219"/>
                <a:gd name="T34" fmla="*/ 26 w 219"/>
                <a:gd name="T35" fmla="*/ 38 h 219"/>
                <a:gd name="T36" fmla="*/ 52 w 219"/>
                <a:gd name="T37" fmla="*/ 17 h 219"/>
                <a:gd name="T38" fmla="*/ 84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4"/>
                  </a:lnTo>
                  <a:lnTo>
                    <a:pt x="219" y="118"/>
                  </a:lnTo>
                  <a:lnTo>
                    <a:pt x="211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69" y="211"/>
                  </a:lnTo>
                  <a:lnTo>
                    <a:pt x="38" y="193"/>
                  </a:lnTo>
                  <a:lnTo>
                    <a:pt x="17" y="167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38"/>
                  </a:lnTo>
                  <a:lnTo>
                    <a:pt x="52" y="17"/>
                  </a:lnTo>
                  <a:lnTo>
                    <a:pt x="84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1" name="Freeform 29">
              <a:extLst>
                <a:ext uri="{FF2B5EF4-FFF2-40B4-BE49-F238E27FC236}">
                  <a16:creationId xmlns:a16="http://schemas.microsoft.com/office/drawing/2014/main" id="{22C48EF5-B110-468D-85D5-8CDEC4F1D52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797082" y="3812402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3 w 219"/>
                <a:gd name="T3" fmla="*/ 9 h 219"/>
                <a:gd name="T4" fmla="*/ 181 w 219"/>
                <a:gd name="T5" fmla="*/ 26 h 219"/>
                <a:gd name="T6" fmla="*/ 205 w 219"/>
                <a:gd name="T7" fmla="*/ 52 h 219"/>
                <a:gd name="T8" fmla="*/ 216 w 219"/>
                <a:gd name="T9" fmla="*/ 84 h 219"/>
                <a:gd name="T10" fmla="*/ 219 w 219"/>
                <a:gd name="T11" fmla="*/ 115 h 219"/>
                <a:gd name="T12" fmla="*/ 210 w 219"/>
                <a:gd name="T13" fmla="*/ 150 h 219"/>
                <a:gd name="T14" fmla="*/ 193 w 219"/>
                <a:gd name="T15" fmla="*/ 182 h 219"/>
                <a:gd name="T16" fmla="*/ 167 w 219"/>
                <a:gd name="T17" fmla="*/ 202 h 219"/>
                <a:gd name="T18" fmla="*/ 138 w 219"/>
                <a:gd name="T19" fmla="*/ 216 h 219"/>
                <a:gd name="T20" fmla="*/ 104 w 219"/>
                <a:gd name="T21" fmla="*/ 219 h 219"/>
                <a:gd name="T22" fmla="*/ 69 w 219"/>
                <a:gd name="T23" fmla="*/ 210 h 219"/>
                <a:gd name="T24" fmla="*/ 40 w 219"/>
                <a:gd name="T25" fmla="*/ 193 h 219"/>
                <a:gd name="T26" fmla="*/ 17 w 219"/>
                <a:gd name="T27" fmla="*/ 167 h 219"/>
                <a:gd name="T28" fmla="*/ 3 w 219"/>
                <a:gd name="T29" fmla="*/ 136 h 219"/>
                <a:gd name="T30" fmla="*/ 0 w 219"/>
                <a:gd name="T31" fmla="*/ 101 h 219"/>
                <a:gd name="T32" fmla="*/ 8 w 219"/>
                <a:gd name="T33" fmla="*/ 66 h 219"/>
                <a:gd name="T34" fmla="*/ 26 w 219"/>
                <a:gd name="T35" fmla="*/ 38 h 219"/>
                <a:gd name="T36" fmla="*/ 52 w 219"/>
                <a:gd name="T37" fmla="*/ 17 h 219"/>
                <a:gd name="T38" fmla="*/ 83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3" y="9"/>
                  </a:lnTo>
                  <a:lnTo>
                    <a:pt x="181" y="26"/>
                  </a:lnTo>
                  <a:lnTo>
                    <a:pt x="205" y="52"/>
                  </a:lnTo>
                  <a:lnTo>
                    <a:pt x="216" y="84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8" y="216"/>
                  </a:lnTo>
                  <a:lnTo>
                    <a:pt x="104" y="219"/>
                  </a:lnTo>
                  <a:lnTo>
                    <a:pt x="69" y="210"/>
                  </a:lnTo>
                  <a:lnTo>
                    <a:pt x="40" y="193"/>
                  </a:lnTo>
                  <a:lnTo>
                    <a:pt x="17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8" y="66"/>
                  </a:lnTo>
                  <a:lnTo>
                    <a:pt x="26" y="38"/>
                  </a:lnTo>
                  <a:lnTo>
                    <a:pt x="52" y="17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2" name="Freeform 30">
              <a:extLst>
                <a:ext uri="{FF2B5EF4-FFF2-40B4-BE49-F238E27FC236}">
                  <a16:creationId xmlns:a16="http://schemas.microsoft.com/office/drawing/2014/main" id="{FA8C069A-2592-473C-94CF-396879973B0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580266" y="3763599"/>
              <a:ext cx="172813" cy="173613"/>
            </a:xfrm>
            <a:custGeom>
              <a:avLst/>
              <a:gdLst>
                <a:gd name="T0" fmla="*/ 115 w 216"/>
                <a:gd name="T1" fmla="*/ 0 h 217"/>
                <a:gd name="T2" fmla="*/ 150 w 216"/>
                <a:gd name="T3" fmla="*/ 6 h 217"/>
                <a:gd name="T4" fmla="*/ 178 w 216"/>
                <a:gd name="T5" fmla="*/ 26 h 217"/>
                <a:gd name="T6" fmla="*/ 201 w 216"/>
                <a:gd name="T7" fmla="*/ 52 h 217"/>
                <a:gd name="T8" fmla="*/ 213 w 216"/>
                <a:gd name="T9" fmla="*/ 81 h 217"/>
                <a:gd name="T10" fmla="*/ 216 w 216"/>
                <a:gd name="T11" fmla="*/ 116 h 217"/>
                <a:gd name="T12" fmla="*/ 210 w 216"/>
                <a:gd name="T13" fmla="*/ 150 h 217"/>
                <a:gd name="T14" fmla="*/ 190 w 216"/>
                <a:gd name="T15" fmla="*/ 179 h 217"/>
                <a:gd name="T16" fmla="*/ 164 w 216"/>
                <a:gd name="T17" fmla="*/ 202 h 217"/>
                <a:gd name="T18" fmla="*/ 135 w 216"/>
                <a:gd name="T19" fmla="*/ 214 h 217"/>
                <a:gd name="T20" fmla="*/ 101 w 216"/>
                <a:gd name="T21" fmla="*/ 217 h 217"/>
                <a:gd name="T22" fmla="*/ 69 w 216"/>
                <a:gd name="T23" fmla="*/ 211 h 217"/>
                <a:gd name="T24" fmla="*/ 37 w 216"/>
                <a:gd name="T25" fmla="*/ 191 h 217"/>
                <a:gd name="T26" fmla="*/ 14 w 216"/>
                <a:gd name="T27" fmla="*/ 168 h 217"/>
                <a:gd name="T28" fmla="*/ 3 w 216"/>
                <a:gd name="T29" fmla="*/ 136 h 217"/>
                <a:gd name="T30" fmla="*/ 0 w 216"/>
                <a:gd name="T31" fmla="*/ 101 h 217"/>
                <a:gd name="T32" fmla="*/ 5 w 216"/>
                <a:gd name="T33" fmla="*/ 67 h 217"/>
                <a:gd name="T34" fmla="*/ 26 w 216"/>
                <a:gd name="T35" fmla="*/ 38 h 217"/>
                <a:gd name="T36" fmla="*/ 52 w 216"/>
                <a:gd name="T37" fmla="*/ 15 h 217"/>
                <a:gd name="T38" fmla="*/ 80 w 216"/>
                <a:gd name="T39" fmla="*/ 3 h 217"/>
                <a:gd name="T40" fmla="*/ 115 w 216"/>
                <a:gd name="T41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7">
                  <a:moveTo>
                    <a:pt x="115" y="0"/>
                  </a:moveTo>
                  <a:lnTo>
                    <a:pt x="150" y="6"/>
                  </a:lnTo>
                  <a:lnTo>
                    <a:pt x="178" y="26"/>
                  </a:lnTo>
                  <a:lnTo>
                    <a:pt x="201" y="52"/>
                  </a:lnTo>
                  <a:lnTo>
                    <a:pt x="213" y="81"/>
                  </a:lnTo>
                  <a:lnTo>
                    <a:pt x="216" y="116"/>
                  </a:lnTo>
                  <a:lnTo>
                    <a:pt x="210" y="150"/>
                  </a:lnTo>
                  <a:lnTo>
                    <a:pt x="190" y="179"/>
                  </a:lnTo>
                  <a:lnTo>
                    <a:pt x="164" y="202"/>
                  </a:lnTo>
                  <a:lnTo>
                    <a:pt x="135" y="214"/>
                  </a:lnTo>
                  <a:lnTo>
                    <a:pt x="101" y="217"/>
                  </a:lnTo>
                  <a:lnTo>
                    <a:pt x="69" y="211"/>
                  </a:lnTo>
                  <a:lnTo>
                    <a:pt x="37" y="191"/>
                  </a:lnTo>
                  <a:lnTo>
                    <a:pt x="14" y="168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5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0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3" name="Freeform 31">
              <a:extLst>
                <a:ext uri="{FF2B5EF4-FFF2-40B4-BE49-F238E27FC236}">
                  <a16:creationId xmlns:a16="http://schemas.microsoft.com/office/drawing/2014/main" id="{6BC492DF-B0AC-4F6D-8CC4-5874ACA7D1E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389052" y="3648390"/>
              <a:ext cx="175213" cy="172813"/>
            </a:xfrm>
            <a:custGeom>
              <a:avLst/>
              <a:gdLst>
                <a:gd name="T0" fmla="*/ 118 w 219"/>
                <a:gd name="T1" fmla="*/ 0 h 216"/>
                <a:gd name="T2" fmla="*/ 153 w 219"/>
                <a:gd name="T3" fmla="*/ 5 h 216"/>
                <a:gd name="T4" fmla="*/ 182 w 219"/>
                <a:gd name="T5" fmla="*/ 26 h 216"/>
                <a:gd name="T6" fmla="*/ 205 w 219"/>
                <a:gd name="T7" fmla="*/ 51 h 216"/>
                <a:gd name="T8" fmla="*/ 216 w 219"/>
                <a:gd name="T9" fmla="*/ 80 h 216"/>
                <a:gd name="T10" fmla="*/ 219 w 219"/>
                <a:gd name="T11" fmla="*/ 115 h 216"/>
                <a:gd name="T12" fmla="*/ 213 w 219"/>
                <a:gd name="T13" fmla="*/ 149 h 216"/>
                <a:gd name="T14" fmla="*/ 193 w 219"/>
                <a:gd name="T15" fmla="*/ 178 h 216"/>
                <a:gd name="T16" fmla="*/ 167 w 219"/>
                <a:gd name="T17" fmla="*/ 201 h 216"/>
                <a:gd name="T18" fmla="*/ 138 w 219"/>
                <a:gd name="T19" fmla="*/ 213 h 216"/>
                <a:gd name="T20" fmla="*/ 104 w 219"/>
                <a:gd name="T21" fmla="*/ 216 h 216"/>
                <a:gd name="T22" fmla="*/ 69 w 219"/>
                <a:gd name="T23" fmla="*/ 210 h 216"/>
                <a:gd name="T24" fmla="*/ 40 w 219"/>
                <a:gd name="T25" fmla="*/ 190 h 216"/>
                <a:gd name="T26" fmla="*/ 17 w 219"/>
                <a:gd name="T27" fmla="*/ 167 h 216"/>
                <a:gd name="T28" fmla="*/ 6 w 219"/>
                <a:gd name="T29" fmla="*/ 135 h 216"/>
                <a:gd name="T30" fmla="*/ 0 w 219"/>
                <a:gd name="T31" fmla="*/ 100 h 216"/>
                <a:gd name="T32" fmla="*/ 9 w 219"/>
                <a:gd name="T33" fmla="*/ 66 h 216"/>
                <a:gd name="T34" fmla="*/ 29 w 219"/>
                <a:gd name="T35" fmla="*/ 37 h 216"/>
                <a:gd name="T36" fmla="*/ 55 w 219"/>
                <a:gd name="T37" fmla="*/ 14 h 216"/>
                <a:gd name="T38" fmla="*/ 84 w 219"/>
                <a:gd name="T39" fmla="*/ 2 h 216"/>
                <a:gd name="T40" fmla="*/ 118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8" y="0"/>
                  </a:moveTo>
                  <a:lnTo>
                    <a:pt x="153" y="5"/>
                  </a:lnTo>
                  <a:lnTo>
                    <a:pt x="182" y="26"/>
                  </a:lnTo>
                  <a:lnTo>
                    <a:pt x="205" y="51"/>
                  </a:lnTo>
                  <a:lnTo>
                    <a:pt x="216" y="80"/>
                  </a:lnTo>
                  <a:lnTo>
                    <a:pt x="219" y="115"/>
                  </a:lnTo>
                  <a:lnTo>
                    <a:pt x="213" y="149"/>
                  </a:lnTo>
                  <a:lnTo>
                    <a:pt x="193" y="178"/>
                  </a:lnTo>
                  <a:lnTo>
                    <a:pt x="167" y="201"/>
                  </a:lnTo>
                  <a:lnTo>
                    <a:pt x="138" y="213"/>
                  </a:lnTo>
                  <a:lnTo>
                    <a:pt x="104" y="216"/>
                  </a:lnTo>
                  <a:lnTo>
                    <a:pt x="69" y="210"/>
                  </a:lnTo>
                  <a:lnTo>
                    <a:pt x="40" y="190"/>
                  </a:lnTo>
                  <a:lnTo>
                    <a:pt x="17" y="167"/>
                  </a:lnTo>
                  <a:lnTo>
                    <a:pt x="6" y="135"/>
                  </a:lnTo>
                  <a:lnTo>
                    <a:pt x="0" y="100"/>
                  </a:lnTo>
                  <a:lnTo>
                    <a:pt x="9" y="66"/>
                  </a:lnTo>
                  <a:lnTo>
                    <a:pt x="29" y="37"/>
                  </a:lnTo>
                  <a:lnTo>
                    <a:pt x="55" y="14"/>
                  </a:lnTo>
                  <a:lnTo>
                    <a:pt x="84" y="2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4" name="Freeform 32">
              <a:extLst>
                <a:ext uri="{FF2B5EF4-FFF2-40B4-BE49-F238E27FC236}">
                  <a16:creationId xmlns:a16="http://schemas.microsoft.com/office/drawing/2014/main" id="{C3984651-27C1-4B15-96FC-5B15CE63571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241041" y="3477977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49 w 219"/>
                <a:gd name="T3" fmla="*/ 9 h 219"/>
                <a:gd name="T4" fmla="*/ 181 w 219"/>
                <a:gd name="T5" fmla="*/ 26 h 219"/>
                <a:gd name="T6" fmla="*/ 201 w 219"/>
                <a:gd name="T7" fmla="*/ 52 h 219"/>
                <a:gd name="T8" fmla="*/ 216 w 219"/>
                <a:gd name="T9" fmla="*/ 81 h 219"/>
                <a:gd name="T10" fmla="*/ 219 w 219"/>
                <a:gd name="T11" fmla="*/ 115 h 219"/>
                <a:gd name="T12" fmla="*/ 210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5 w 219"/>
                <a:gd name="T19" fmla="*/ 216 h 219"/>
                <a:gd name="T20" fmla="*/ 103 w 219"/>
                <a:gd name="T21" fmla="*/ 219 h 219"/>
                <a:gd name="T22" fmla="*/ 69 w 219"/>
                <a:gd name="T23" fmla="*/ 210 h 219"/>
                <a:gd name="T24" fmla="*/ 37 w 219"/>
                <a:gd name="T25" fmla="*/ 193 h 219"/>
                <a:gd name="T26" fmla="*/ 17 w 219"/>
                <a:gd name="T27" fmla="*/ 167 h 219"/>
                <a:gd name="T28" fmla="*/ 2 w 219"/>
                <a:gd name="T29" fmla="*/ 135 h 219"/>
                <a:gd name="T30" fmla="*/ 0 w 219"/>
                <a:gd name="T31" fmla="*/ 101 h 219"/>
                <a:gd name="T32" fmla="*/ 8 w 219"/>
                <a:gd name="T33" fmla="*/ 66 h 219"/>
                <a:gd name="T34" fmla="*/ 26 w 219"/>
                <a:gd name="T35" fmla="*/ 37 h 219"/>
                <a:gd name="T36" fmla="*/ 51 w 219"/>
                <a:gd name="T37" fmla="*/ 17 h 219"/>
                <a:gd name="T38" fmla="*/ 83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49" y="9"/>
                  </a:lnTo>
                  <a:lnTo>
                    <a:pt x="181" y="26"/>
                  </a:lnTo>
                  <a:lnTo>
                    <a:pt x="201" y="52"/>
                  </a:lnTo>
                  <a:lnTo>
                    <a:pt x="216" y="81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6"/>
                  </a:lnTo>
                  <a:lnTo>
                    <a:pt x="103" y="219"/>
                  </a:lnTo>
                  <a:lnTo>
                    <a:pt x="69" y="210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2" y="135"/>
                  </a:lnTo>
                  <a:lnTo>
                    <a:pt x="0" y="101"/>
                  </a:lnTo>
                  <a:lnTo>
                    <a:pt x="8" y="66"/>
                  </a:lnTo>
                  <a:lnTo>
                    <a:pt x="26" y="37"/>
                  </a:lnTo>
                  <a:lnTo>
                    <a:pt x="51" y="17"/>
                  </a:lnTo>
                  <a:lnTo>
                    <a:pt x="83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5" name="Freeform 33">
              <a:extLst>
                <a:ext uri="{FF2B5EF4-FFF2-40B4-BE49-F238E27FC236}">
                  <a16:creationId xmlns:a16="http://schemas.microsoft.com/office/drawing/2014/main" id="{42C60B5A-096E-46FA-8BC0-6B118FAFDF3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156235" y="3272363"/>
              <a:ext cx="172813" cy="176013"/>
            </a:xfrm>
            <a:custGeom>
              <a:avLst/>
              <a:gdLst>
                <a:gd name="T0" fmla="*/ 115 w 216"/>
                <a:gd name="T1" fmla="*/ 0 h 220"/>
                <a:gd name="T2" fmla="*/ 150 w 216"/>
                <a:gd name="T3" fmla="*/ 9 h 220"/>
                <a:gd name="T4" fmla="*/ 179 w 216"/>
                <a:gd name="T5" fmla="*/ 26 h 220"/>
                <a:gd name="T6" fmla="*/ 202 w 216"/>
                <a:gd name="T7" fmla="*/ 52 h 220"/>
                <a:gd name="T8" fmla="*/ 213 w 216"/>
                <a:gd name="T9" fmla="*/ 84 h 220"/>
                <a:gd name="T10" fmla="*/ 216 w 216"/>
                <a:gd name="T11" fmla="*/ 116 h 220"/>
                <a:gd name="T12" fmla="*/ 211 w 216"/>
                <a:gd name="T13" fmla="*/ 150 h 220"/>
                <a:gd name="T14" fmla="*/ 193 w 216"/>
                <a:gd name="T15" fmla="*/ 179 h 220"/>
                <a:gd name="T16" fmla="*/ 167 w 216"/>
                <a:gd name="T17" fmla="*/ 202 h 220"/>
                <a:gd name="T18" fmla="*/ 136 w 216"/>
                <a:gd name="T19" fmla="*/ 217 h 220"/>
                <a:gd name="T20" fmla="*/ 101 w 216"/>
                <a:gd name="T21" fmla="*/ 220 h 220"/>
                <a:gd name="T22" fmla="*/ 66 w 216"/>
                <a:gd name="T23" fmla="*/ 211 h 220"/>
                <a:gd name="T24" fmla="*/ 38 w 216"/>
                <a:gd name="T25" fmla="*/ 194 h 220"/>
                <a:gd name="T26" fmla="*/ 15 w 216"/>
                <a:gd name="T27" fmla="*/ 168 h 220"/>
                <a:gd name="T28" fmla="*/ 3 w 216"/>
                <a:gd name="T29" fmla="*/ 136 h 220"/>
                <a:gd name="T30" fmla="*/ 0 w 216"/>
                <a:gd name="T31" fmla="*/ 104 h 220"/>
                <a:gd name="T32" fmla="*/ 6 w 216"/>
                <a:gd name="T33" fmla="*/ 70 h 220"/>
                <a:gd name="T34" fmla="*/ 26 w 216"/>
                <a:gd name="T35" fmla="*/ 38 h 220"/>
                <a:gd name="T36" fmla="*/ 52 w 216"/>
                <a:gd name="T37" fmla="*/ 18 h 220"/>
                <a:gd name="T38" fmla="*/ 81 w 216"/>
                <a:gd name="T39" fmla="*/ 3 h 220"/>
                <a:gd name="T40" fmla="*/ 115 w 216"/>
                <a:gd name="T41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20">
                  <a:moveTo>
                    <a:pt x="115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3" y="84"/>
                  </a:lnTo>
                  <a:lnTo>
                    <a:pt x="216" y="116"/>
                  </a:lnTo>
                  <a:lnTo>
                    <a:pt x="211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6" y="217"/>
                  </a:lnTo>
                  <a:lnTo>
                    <a:pt x="101" y="220"/>
                  </a:lnTo>
                  <a:lnTo>
                    <a:pt x="66" y="211"/>
                  </a:lnTo>
                  <a:lnTo>
                    <a:pt x="38" y="194"/>
                  </a:lnTo>
                  <a:lnTo>
                    <a:pt x="15" y="168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6" y="70"/>
                  </a:lnTo>
                  <a:lnTo>
                    <a:pt x="26" y="38"/>
                  </a:lnTo>
                  <a:lnTo>
                    <a:pt x="52" y="18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6" name="Freeform 34">
              <a:extLst>
                <a:ext uri="{FF2B5EF4-FFF2-40B4-BE49-F238E27FC236}">
                  <a16:creationId xmlns:a16="http://schemas.microsoft.com/office/drawing/2014/main" id="{7B729A09-6E1B-4990-B48D-F01F94C185E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167436" y="3083549"/>
              <a:ext cx="110408" cy="108808"/>
            </a:xfrm>
            <a:custGeom>
              <a:avLst/>
              <a:gdLst>
                <a:gd name="T0" fmla="*/ 69 w 138"/>
                <a:gd name="T1" fmla="*/ 0 h 136"/>
                <a:gd name="T2" fmla="*/ 95 w 138"/>
                <a:gd name="T3" fmla="*/ 6 h 136"/>
                <a:gd name="T4" fmla="*/ 118 w 138"/>
                <a:gd name="T5" fmla="*/ 21 h 136"/>
                <a:gd name="T6" fmla="*/ 132 w 138"/>
                <a:gd name="T7" fmla="*/ 41 h 136"/>
                <a:gd name="T8" fmla="*/ 138 w 138"/>
                <a:gd name="T9" fmla="*/ 67 h 136"/>
                <a:gd name="T10" fmla="*/ 132 w 138"/>
                <a:gd name="T11" fmla="*/ 93 h 136"/>
                <a:gd name="T12" fmla="*/ 118 w 138"/>
                <a:gd name="T13" fmla="*/ 116 h 136"/>
                <a:gd name="T14" fmla="*/ 95 w 138"/>
                <a:gd name="T15" fmla="*/ 130 h 136"/>
                <a:gd name="T16" fmla="*/ 69 w 138"/>
                <a:gd name="T17" fmla="*/ 136 h 136"/>
                <a:gd name="T18" fmla="*/ 43 w 138"/>
                <a:gd name="T19" fmla="*/ 130 h 136"/>
                <a:gd name="T20" fmla="*/ 20 w 138"/>
                <a:gd name="T21" fmla="*/ 116 h 136"/>
                <a:gd name="T22" fmla="*/ 5 w 138"/>
                <a:gd name="T23" fmla="*/ 93 h 136"/>
                <a:gd name="T24" fmla="*/ 0 w 138"/>
                <a:gd name="T25" fmla="*/ 70 h 136"/>
                <a:gd name="T26" fmla="*/ 5 w 138"/>
                <a:gd name="T27" fmla="*/ 41 h 136"/>
                <a:gd name="T28" fmla="*/ 20 w 138"/>
                <a:gd name="T29" fmla="*/ 21 h 136"/>
                <a:gd name="T30" fmla="*/ 43 w 138"/>
                <a:gd name="T31" fmla="*/ 6 h 136"/>
                <a:gd name="T32" fmla="*/ 69 w 138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6">
                  <a:moveTo>
                    <a:pt x="69" y="0"/>
                  </a:moveTo>
                  <a:lnTo>
                    <a:pt x="95" y="6"/>
                  </a:lnTo>
                  <a:lnTo>
                    <a:pt x="118" y="21"/>
                  </a:lnTo>
                  <a:lnTo>
                    <a:pt x="132" y="41"/>
                  </a:lnTo>
                  <a:lnTo>
                    <a:pt x="138" y="67"/>
                  </a:lnTo>
                  <a:lnTo>
                    <a:pt x="132" y="93"/>
                  </a:lnTo>
                  <a:lnTo>
                    <a:pt x="118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6"/>
                  </a:lnTo>
                  <a:lnTo>
                    <a:pt x="5" y="93"/>
                  </a:lnTo>
                  <a:lnTo>
                    <a:pt x="0" y="70"/>
                  </a:lnTo>
                  <a:lnTo>
                    <a:pt x="5" y="41"/>
                  </a:lnTo>
                  <a:lnTo>
                    <a:pt x="20" y="21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7" name="Freeform 35">
              <a:extLst>
                <a:ext uri="{FF2B5EF4-FFF2-40B4-BE49-F238E27FC236}">
                  <a16:creationId xmlns:a16="http://schemas.microsoft.com/office/drawing/2014/main" id="{89192F63-17F0-4740-A350-8C9E7895288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020225" y="2765126"/>
              <a:ext cx="175213" cy="175213"/>
            </a:xfrm>
            <a:custGeom>
              <a:avLst/>
              <a:gdLst>
                <a:gd name="T0" fmla="*/ 116 w 219"/>
                <a:gd name="T1" fmla="*/ 0 h 219"/>
                <a:gd name="T2" fmla="*/ 150 w 219"/>
                <a:gd name="T3" fmla="*/ 5 h 219"/>
                <a:gd name="T4" fmla="*/ 179 w 219"/>
                <a:gd name="T5" fmla="*/ 25 h 219"/>
                <a:gd name="T6" fmla="*/ 202 w 219"/>
                <a:gd name="T7" fmla="*/ 51 h 219"/>
                <a:gd name="T8" fmla="*/ 217 w 219"/>
                <a:gd name="T9" fmla="*/ 80 h 219"/>
                <a:gd name="T10" fmla="*/ 219 w 219"/>
                <a:gd name="T11" fmla="*/ 115 h 219"/>
                <a:gd name="T12" fmla="*/ 211 w 219"/>
                <a:gd name="T13" fmla="*/ 149 h 219"/>
                <a:gd name="T14" fmla="*/ 193 w 219"/>
                <a:gd name="T15" fmla="*/ 178 h 219"/>
                <a:gd name="T16" fmla="*/ 168 w 219"/>
                <a:gd name="T17" fmla="*/ 201 h 219"/>
                <a:gd name="T18" fmla="*/ 136 w 219"/>
                <a:gd name="T19" fmla="*/ 216 h 219"/>
                <a:gd name="T20" fmla="*/ 101 w 219"/>
                <a:gd name="T21" fmla="*/ 219 h 219"/>
                <a:gd name="T22" fmla="*/ 70 w 219"/>
                <a:gd name="T23" fmla="*/ 210 h 219"/>
                <a:gd name="T24" fmla="*/ 38 w 219"/>
                <a:gd name="T25" fmla="*/ 193 h 219"/>
                <a:gd name="T26" fmla="*/ 18 w 219"/>
                <a:gd name="T27" fmla="*/ 167 h 219"/>
                <a:gd name="T28" fmla="*/ 3 w 219"/>
                <a:gd name="T29" fmla="*/ 135 h 219"/>
                <a:gd name="T30" fmla="*/ 0 w 219"/>
                <a:gd name="T31" fmla="*/ 100 h 219"/>
                <a:gd name="T32" fmla="*/ 9 w 219"/>
                <a:gd name="T33" fmla="*/ 69 h 219"/>
                <a:gd name="T34" fmla="*/ 26 w 219"/>
                <a:gd name="T35" fmla="*/ 37 h 219"/>
                <a:gd name="T36" fmla="*/ 52 w 219"/>
                <a:gd name="T37" fmla="*/ 14 h 219"/>
                <a:gd name="T38" fmla="*/ 84 w 219"/>
                <a:gd name="T39" fmla="*/ 2 h 219"/>
                <a:gd name="T40" fmla="*/ 116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6" y="0"/>
                  </a:moveTo>
                  <a:lnTo>
                    <a:pt x="150" y="5"/>
                  </a:lnTo>
                  <a:lnTo>
                    <a:pt x="179" y="25"/>
                  </a:lnTo>
                  <a:lnTo>
                    <a:pt x="202" y="51"/>
                  </a:lnTo>
                  <a:lnTo>
                    <a:pt x="217" y="80"/>
                  </a:lnTo>
                  <a:lnTo>
                    <a:pt x="219" y="115"/>
                  </a:lnTo>
                  <a:lnTo>
                    <a:pt x="211" y="149"/>
                  </a:lnTo>
                  <a:lnTo>
                    <a:pt x="193" y="178"/>
                  </a:lnTo>
                  <a:lnTo>
                    <a:pt x="168" y="201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70" y="210"/>
                  </a:lnTo>
                  <a:lnTo>
                    <a:pt x="38" y="193"/>
                  </a:lnTo>
                  <a:lnTo>
                    <a:pt x="18" y="167"/>
                  </a:lnTo>
                  <a:lnTo>
                    <a:pt x="3" y="135"/>
                  </a:lnTo>
                  <a:lnTo>
                    <a:pt x="0" y="100"/>
                  </a:lnTo>
                  <a:lnTo>
                    <a:pt x="9" y="69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4" y="2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8" name="Freeform 36">
              <a:extLst>
                <a:ext uri="{FF2B5EF4-FFF2-40B4-BE49-F238E27FC236}">
                  <a16:creationId xmlns:a16="http://schemas.microsoft.com/office/drawing/2014/main" id="{7961D50E-CA53-455A-AB16-C2B04B55A6E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130634" y="2571512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50 w 216"/>
                <a:gd name="T3" fmla="*/ 8 h 219"/>
                <a:gd name="T4" fmla="*/ 179 w 216"/>
                <a:gd name="T5" fmla="*/ 26 h 219"/>
                <a:gd name="T6" fmla="*/ 202 w 216"/>
                <a:gd name="T7" fmla="*/ 52 h 219"/>
                <a:gd name="T8" fmla="*/ 213 w 216"/>
                <a:gd name="T9" fmla="*/ 83 h 219"/>
                <a:gd name="T10" fmla="*/ 216 w 216"/>
                <a:gd name="T11" fmla="*/ 118 h 219"/>
                <a:gd name="T12" fmla="*/ 210 w 216"/>
                <a:gd name="T13" fmla="*/ 152 h 219"/>
                <a:gd name="T14" fmla="*/ 190 w 216"/>
                <a:gd name="T15" fmla="*/ 181 h 219"/>
                <a:gd name="T16" fmla="*/ 164 w 216"/>
                <a:gd name="T17" fmla="*/ 204 h 219"/>
                <a:gd name="T18" fmla="*/ 135 w 216"/>
                <a:gd name="T19" fmla="*/ 216 h 219"/>
                <a:gd name="T20" fmla="*/ 101 w 216"/>
                <a:gd name="T21" fmla="*/ 219 h 219"/>
                <a:gd name="T22" fmla="*/ 66 w 216"/>
                <a:gd name="T23" fmla="*/ 210 h 219"/>
                <a:gd name="T24" fmla="*/ 37 w 216"/>
                <a:gd name="T25" fmla="*/ 193 h 219"/>
                <a:gd name="T26" fmla="*/ 14 w 216"/>
                <a:gd name="T27" fmla="*/ 167 h 219"/>
                <a:gd name="T28" fmla="*/ 3 w 216"/>
                <a:gd name="T29" fmla="*/ 135 h 219"/>
                <a:gd name="T30" fmla="*/ 0 w 216"/>
                <a:gd name="T31" fmla="*/ 103 h 219"/>
                <a:gd name="T32" fmla="*/ 6 w 216"/>
                <a:gd name="T33" fmla="*/ 69 h 219"/>
                <a:gd name="T34" fmla="*/ 26 w 216"/>
                <a:gd name="T35" fmla="*/ 40 h 219"/>
                <a:gd name="T36" fmla="*/ 49 w 216"/>
                <a:gd name="T37" fmla="*/ 17 h 219"/>
                <a:gd name="T38" fmla="*/ 81 w 216"/>
                <a:gd name="T39" fmla="*/ 3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50" y="8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3" y="83"/>
                  </a:lnTo>
                  <a:lnTo>
                    <a:pt x="216" y="118"/>
                  </a:lnTo>
                  <a:lnTo>
                    <a:pt x="210" y="152"/>
                  </a:lnTo>
                  <a:lnTo>
                    <a:pt x="190" y="181"/>
                  </a:lnTo>
                  <a:lnTo>
                    <a:pt x="164" y="204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6" y="210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3" y="135"/>
                  </a:lnTo>
                  <a:lnTo>
                    <a:pt x="0" y="103"/>
                  </a:lnTo>
                  <a:lnTo>
                    <a:pt x="6" y="69"/>
                  </a:lnTo>
                  <a:lnTo>
                    <a:pt x="26" y="40"/>
                  </a:lnTo>
                  <a:lnTo>
                    <a:pt x="49" y="17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9" name="Freeform 37">
              <a:extLst>
                <a:ext uri="{FF2B5EF4-FFF2-40B4-BE49-F238E27FC236}">
                  <a16:creationId xmlns:a16="http://schemas.microsoft.com/office/drawing/2014/main" id="{E9F2FE62-57E3-4CDC-AF0C-F414612858F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285045" y="2410700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50 w 216"/>
                <a:gd name="T3" fmla="*/ 9 h 219"/>
                <a:gd name="T4" fmla="*/ 178 w 216"/>
                <a:gd name="T5" fmla="*/ 29 h 219"/>
                <a:gd name="T6" fmla="*/ 201 w 216"/>
                <a:gd name="T7" fmla="*/ 52 h 219"/>
                <a:gd name="T8" fmla="*/ 213 w 216"/>
                <a:gd name="T9" fmla="*/ 84 h 219"/>
                <a:gd name="T10" fmla="*/ 216 w 216"/>
                <a:gd name="T11" fmla="*/ 119 h 219"/>
                <a:gd name="T12" fmla="*/ 210 w 216"/>
                <a:gd name="T13" fmla="*/ 153 h 219"/>
                <a:gd name="T14" fmla="*/ 190 w 216"/>
                <a:gd name="T15" fmla="*/ 182 h 219"/>
                <a:gd name="T16" fmla="*/ 167 w 216"/>
                <a:gd name="T17" fmla="*/ 205 h 219"/>
                <a:gd name="T18" fmla="*/ 135 w 216"/>
                <a:gd name="T19" fmla="*/ 217 h 219"/>
                <a:gd name="T20" fmla="*/ 101 w 216"/>
                <a:gd name="T21" fmla="*/ 219 h 219"/>
                <a:gd name="T22" fmla="*/ 69 w 216"/>
                <a:gd name="T23" fmla="*/ 211 h 219"/>
                <a:gd name="T24" fmla="*/ 37 w 216"/>
                <a:gd name="T25" fmla="*/ 194 h 219"/>
                <a:gd name="T26" fmla="*/ 14 w 216"/>
                <a:gd name="T27" fmla="*/ 168 h 219"/>
                <a:gd name="T28" fmla="*/ 3 w 216"/>
                <a:gd name="T29" fmla="*/ 139 h 219"/>
                <a:gd name="T30" fmla="*/ 0 w 216"/>
                <a:gd name="T31" fmla="*/ 104 h 219"/>
                <a:gd name="T32" fmla="*/ 5 w 216"/>
                <a:gd name="T33" fmla="*/ 70 h 219"/>
                <a:gd name="T34" fmla="*/ 23 w 216"/>
                <a:gd name="T35" fmla="*/ 41 h 219"/>
                <a:gd name="T36" fmla="*/ 49 w 216"/>
                <a:gd name="T37" fmla="*/ 18 h 219"/>
                <a:gd name="T38" fmla="*/ 80 w 216"/>
                <a:gd name="T39" fmla="*/ 6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50" y="9"/>
                  </a:lnTo>
                  <a:lnTo>
                    <a:pt x="178" y="29"/>
                  </a:lnTo>
                  <a:lnTo>
                    <a:pt x="201" y="52"/>
                  </a:lnTo>
                  <a:lnTo>
                    <a:pt x="213" y="84"/>
                  </a:lnTo>
                  <a:lnTo>
                    <a:pt x="216" y="119"/>
                  </a:lnTo>
                  <a:lnTo>
                    <a:pt x="210" y="153"/>
                  </a:lnTo>
                  <a:lnTo>
                    <a:pt x="190" y="182"/>
                  </a:lnTo>
                  <a:lnTo>
                    <a:pt x="167" y="205"/>
                  </a:lnTo>
                  <a:lnTo>
                    <a:pt x="135" y="217"/>
                  </a:lnTo>
                  <a:lnTo>
                    <a:pt x="101" y="219"/>
                  </a:lnTo>
                  <a:lnTo>
                    <a:pt x="69" y="211"/>
                  </a:lnTo>
                  <a:lnTo>
                    <a:pt x="37" y="194"/>
                  </a:lnTo>
                  <a:lnTo>
                    <a:pt x="14" y="168"/>
                  </a:lnTo>
                  <a:lnTo>
                    <a:pt x="3" y="139"/>
                  </a:lnTo>
                  <a:lnTo>
                    <a:pt x="0" y="104"/>
                  </a:lnTo>
                  <a:lnTo>
                    <a:pt x="5" y="70"/>
                  </a:lnTo>
                  <a:lnTo>
                    <a:pt x="23" y="41"/>
                  </a:lnTo>
                  <a:lnTo>
                    <a:pt x="49" y="18"/>
                  </a:lnTo>
                  <a:lnTo>
                    <a:pt x="80" y="6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0" name="Freeform 38">
              <a:extLst>
                <a:ext uri="{FF2B5EF4-FFF2-40B4-BE49-F238E27FC236}">
                  <a16:creationId xmlns:a16="http://schemas.microsoft.com/office/drawing/2014/main" id="{DBBC200D-DAA6-4C98-AB98-320FD4A2D35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473858" y="2290691"/>
              <a:ext cx="176013" cy="175213"/>
            </a:xfrm>
            <a:custGeom>
              <a:avLst/>
              <a:gdLst>
                <a:gd name="T0" fmla="*/ 119 w 220"/>
                <a:gd name="T1" fmla="*/ 0 h 219"/>
                <a:gd name="T2" fmla="*/ 153 w 220"/>
                <a:gd name="T3" fmla="*/ 9 h 219"/>
                <a:gd name="T4" fmla="*/ 182 w 220"/>
                <a:gd name="T5" fmla="*/ 26 h 219"/>
                <a:gd name="T6" fmla="*/ 205 w 220"/>
                <a:gd name="T7" fmla="*/ 52 h 219"/>
                <a:gd name="T8" fmla="*/ 217 w 220"/>
                <a:gd name="T9" fmla="*/ 81 h 219"/>
                <a:gd name="T10" fmla="*/ 220 w 220"/>
                <a:gd name="T11" fmla="*/ 116 h 219"/>
                <a:gd name="T12" fmla="*/ 211 w 220"/>
                <a:gd name="T13" fmla="*/ 150 h 219"/>
                <a:gd name="T14" fmla="*/ 194 w 220"/>
                <a:gd name="T15" fmla="*/ 179 h 219"/>
                <a:gd name="T16" fmla="*/ 168 w 220"/>
                <a:gd name="T17" fmla="*/ 202 h 219"/>
                <a:gd name="T18" fmla="*/ 139 w 220"/>
                <a:gd name="T19" fmla="*/ 214 h 219"/>
                <a:gd name="T20" fmla="*/ 104 w 220"/>
                <a:gd name="T21" fmla="*/ 219 h 219"/>
                <a:gd name="T22" fmla="*/ 70 w 220"/>
                <a:gd name="T23" fmla="*/ 211 h 219"/>
                <a:gd name="T24" fmla="*/ 41 w 220"/>
                <a:gd name="T25" fmla="*/ 190 h 219"/>
                <a:gd name="T26" fmla="*/ 18 w 220"/>
                <a:gd name="T27" fmla="*/ 167 h 219"/>
                <a:gd name="T28" fmla="*/ 6 w 220"/>
                <a:gd name="T29" fmla="*/ 136 h 219"/>
                <a:gd name="T30" fmla="*/ 0 w 220"/>
                <a:gd name="T31" fmla="*/ 101 h 219"/>
                <a:gd name="T32" fmla="*/ 9 w 220"/>
                <a:gd name="T33" fmla="*/ 67 h 219"/>
                <a:gd name="T34" fmla="*/ 26 w 220"/>
                <a:gd name="T35" fmla="*/ 38 h 219"/>
                <a:gd name="T36" fmla="*/ 52 w 220"/>
                <a:gd name="T37" fmla="*/ 15 h 219"/>
                <a:gd name="T38" fmla="*/ 84 w 220"/>
                <a:gd name="T39" fmla="*/ 3 h 219"/>
                <a:gd name="T40" fmla="*/ 119 w 220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0" h="219">
                  <a:moveTo>
                    <a:pt x="119" y="0"/>
                  </a:moveTo>
                  <a:lnTo>
                    <a:pt x="153" y="9"/>
                  </a:lnTo>
                  <a:lnTo>
                    <a:pt x="182" y="26"/>
                  </a:lnTo>
                  <a:lnTo>
                    <a:pt x="205" y="52"/>
                  </a:lnTo>
                  <a:lnTo>
                    <a:pt x="217" y="81"/>
                  </a:lnTo>
                  <a:lnTo>
                    <a:pt x="220" y="116"/>
                  </a:lnTo>
                  <a:lnTo>
                    <a:pt x="211" y="150"/>
                  </a:lnTo>
                  <a:lnTo>
                    <a:pt x="194" y="179"/>
                  </a:lnTo>
                  <a:lnTo>
                    <a:pt x="168" y="202"/>
                  </a:lnTo>
                  <a:lnTo>
                    <a:pt x="139" y="214"/>
                  </a:lnTo>
                  <a:lnTo>
                    <a:pt x="104" y="219"/>
                  </a:lnTo>
                  <a:lnTo>
                    <a:pt x="70" y="211"/>
                  </a:lnTo>
                  <a:lnTo>
                    <a:pt x="41" y="190"/>
                  </a:lnTo>
                  <a:lnTo>
                    <a:pt x="18" y="167"/>
                  </a:lnTo>
                  <a:lnTo>
                    <a:pt x="6" y="136"/>
                  </a:lnTo>
                  <a:lnTo>
                    <a:pt x="0" y="101"/>
                  </a:lnTo>
                  <a:lnTo>
                    <a:pt x="9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4" y="3"/>
                  </a:lnTo>
                  <a:lnTo>
                    <a:pt x="1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1" name="Freeform 39">
              <a:extLst>
                <a:ext uri="{FF2B5EF4-FFF2-40B4-BE49-F238E27FC236}">
                  <a16:creationId xmlns:a16="http://schemas.microsoft.com/office/drawing/2014/main" id="{822AEABD-B313-4587-9A20-77CF5007566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686674" y="2223486"/>
              <a:ext cx="175213" cy="175213"/>
            </a:xfrm>
            <a:custGeom>
              <a:avLst/>
              <a:gdLst>
                <a:gd name="T0" fmla="*/ 116 w 219"/>
                <a:gd name="T1" fmla="*/ 0 h 219"/>
                <a:gd name="T2" fmla="*/ 150 w 219"/>
                <a:gd name="T3" fmla="*/ 9 h 219"/>
                <a:gd name="T4" fmla="*/ 179 w 219"/>
                <a:gd name="T5" fmla="*/ 26 h 219"/>
                <a:gd name="T6" fmla="*/ 202 w 219"/>
                <a:gd name="T7" fmla="*/ 52 h 219"/>
                <a:gd name="T8" fmla="*/ 216 w 219"/>
                <a:gd name="T9" fmla="*/ 83 h 219"/>
                <a:gd name="T10" fmla="*/ 219 w 219"/>
                <a:gd name="T11" fmla="*/ 115 h 219"/>
                <a:gd name="T12" fmla="*/ 211 w 219"/>
                <a:gd name="T13" fmla="*/ 150 h 219"/>
                <a:gd name="T14" fmla="*/ 193 w 219"/>
                <a:gd name="T15" fmla="*/ 181 h 219"/>
                <a:gd name="T16" fmla="*/ 167 w 219"/>
                <a:gd name="T17" fmla="*/ 202 h 219"/>
                <a:gd name="T18" fmla="*/ 136 w 219"/>
                <a:gd name="T19" fmla="*/ 216 h 219"/>
                <a:gd name="T20" fmla="*/ 101 w 219"/>
                <a:gd name="T21" fmla="*/ 219 h 219"/>
                <a:gd name="T22" fmla="*/ 67 w 219"/>
                <a:gd name="T23" fmla="*/ 210 h 219"/>
                <a:gd name="T24" fmla="*/ 38 w 219"/>
                <a:gd name="T25" fmla="*/ 193 h 219"/>
                <a:gd name="T26" fmla="*/ 15 w 219"/>
                <a:gd name="T27" fmla="*/ 167 h 219"/>
                <a:gd name="T28" fmla="*/ 3 w 219"/>
                <a:gd name="T29" fmla="*/ 135 h 219"/>
                <a:gd name="T30" fmla="*/ 0 w 219"/>
                <a:gd name="T31" fmla="*/ 101 h 219"/>
                <a:gd name="T32" fmla="*/ 9 w 219"/>
                <a:gd name="T33" fmla="*/ 69 h 219"/>
                <a:gd name="T34" fmla="*/ 26 w 219"/>
                <a:gd name="T35" fmla="*/ 37 h 219"/>
                <a:gd name="T36" fmla="*/ 52 w 219"/>
                <a:gd name="T37" fmla="*/ 17 h 219"/>
                <a:gd name="T38" fmla="*/ 81 w 219"/>
                <a:gd name="T39" fmla="*/ 3 h 219"/>
                <a:gd name="T40" fmla="*/ 116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6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6" y="83"/>
                  </a:lnTo>
                  <a:lnTo>
                    <a:pt x="219" y="115"/>
                  </a:lnTo>
                  <a:lnTo>
                    <a:pt x="211" y="150"/>
                  </a:lnTo>
                  <a:lnTo>
                    <a:pt x="193" y="181"/>
                  </a:lnTo>
                  <a:lnTo>
                    <a:pt x="167" y="202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7" y="210"/>
                  </a:lnTo>
                  <a:lnTo>
                    <a:pt x="38" y="193"/>
                  </a:lnTo>
                  <a:lnTo>
                    <a:pt x="15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9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1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2" name="Freeform 40">
              <a:extLst>
                <a:ext uri="{FF2B5EF4-FFF2-40B4-BE49-F238E27FC236}">
                  <a16:creationId xmlns:a16="http://schemas.microsoft.com/office/drawing/2014/main" id="{32C5A952-B817-4025-98A1-1CF84256128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909890" y="2212285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49 w 219"/>
                <a:gd name="T3" fmla="*/ 9 h 219"/>
                <a:gd name="T4" fmla="*/ 181 w 219"/>
                <a:gd name="T5" fmla="*/ 26 h 219"/>
                <a:gd name="T6" fmla="*/ 201 w 219"/>
                <a:gd name="T7" fmla="*/ 52 h 219"/>
                <a:gd name="T8" fmla="*/ 216 w 219"/>
                <a:gd name="T9" fmla="*/ 84 h 219"/>
                <a:gd name="T10" fmla="*/ 219 w 219"/>
                <a:gd name="T11" fmla="*/ 118 h 219"/>
                <a:gd name="T12" fmla="*/ 210 w 219"/>
                <a:gd name="T13" fmla="*/ 150 h 219"/>
                <a:gd name="T14" fmla="*/ 193 w 219"/>
                <a:gd name="T15" fmla="*/ 182 h 219"/>
                <a:gd name="T16" fmla="*/ 167 w 219"/>
                <a:gd name="T17" fmla="*/ 202 h 219"/>
                <a:gd name="T18" fmla="*/ 135 w 219"/>
                <a:gd name="T19" fmla="*/ 216 h 219"/>
                <a:gd name="T20" fmla="*/ 103 w 219"/>
                <a:gd name="T21" fmla="*/ 219 h 219"/>
                <a:gd name="T22" fmla="*/ 69 w 219"/>
                <a:gd name="T23" fmla="*/ 211 h 219"/>
                <a:gd name="T24" fmla="*/ 37 w 219"/>
                <a:gd name="T25" fmla="*/ 193 h 219"/>
                <a:gd name="T26" fmla="*/ 17 w 219"/>
                <a:gd name="T27" fmla="*/ 167 h 219"/>
                <a:gd name="T28" fmla="*/ 2 w 219"/>
                <a:gd name="T29" fmla="*/ 139 h 219"/>
                <a:gd name="T30" fmla="*/ 0 w 219"/>
                <a:gd name="T31" fmla="*/ 104 h 219"/>
                <a:gd name="T32" fmla="*/ 8 w 219"/>
                <a:gd name="T33" fmla="*/ 69 h 219"/>
                <a:gd name="T34" fmla="*/ 26 w 219"/>
                <a:gd name="T35" fmla="*/ 41 h 219"/>
                <a:gd name="T36" fmla="*/ 51 w 219"/>
                <a:gd name="T37" fmla="*/ 18 h 219"/>
                <a:gd name="T38" fmla="*/ 83 w 219"/>
                <a:gd name="T39" fmla="*/ 6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49" y="9"/>
                  </a:lnTo>
                  <a:lnTo>
                    <a:pt x="181" y="26"/>
                  </a:lnTo>
                  <a:lnTo>
                    <a:pt x="201" y="52"/>
                  </a:lnTo>
                  <a:lnTo>
                    <a:pt x="216" y="84"/>
                  </a:lnTo>
                  <a:lnTo>
                    <a:pt x="219" y="118"/>
                  </a:lnTo>
                  <a:lnTo>
                    <a:pt x="210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5" y="216"/>
                  </a:lnTo>
                  <a:lnTo>
                    <a:pt x="103" y="219"/>
                  </a:lnTo>
                  <a:lnTo>
                    <a:pt x="69" y="211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2" y="139"/>
                  </a:lnTo>
                  <a:lnTo>
                    <a:pt x="0" y="104"/>
                  </a:lnTo>
                  <a:lnTo>
                    <a:pt x="8" y="69"/>
                  </a:lnTo>
                  <a:lnTo>
                    <a:pt x="26" y="41"/>
                  </a:lnTo>
                  <a:lnTo>
                    <a:pt x="51" y="18"/>
                  </a:lnTo>
                  <a:lnTo>
                    <a:pt x="83" y="6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3" name="Freeform 41">
              <a:extLst>
                <a:ext uri="{FF2B5EF4-FFF2-40B4-BE49-F238E27FC236}">
                  <a16:creationId xmlns:a16="http://schemas.microsoft.com/office/drawing/2014/main" id="{166752CC-6E7C-4D78-8135-4E62FC39DFF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2115505" y="3950812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6 h 219"/>
                <a:gd name="T4" fmla="*/ 179 w 219"/>
                <a:gd name="T5" fmla="*/ 26 h 219"/>
                <a:gd name="T6" fmla="*/ 202 w 219"/>
                <a:gd name="T7" fmla="*/ 52 h 219"/>
                <a:gd name="T8" fmla="*/ 216 w 219"/>
                <a:gd name="T9" fmla="*/ 81 h 219"/>
                <a:gd name="T10" fmla="*/ 219 w 219"/>
                <a:gd name="T11" fmla="*/ 115 h 219"/>
                <a:gd name="T12" fmla="*/ 210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5 w 219"/>
                <a:gd name="T19" fmla="*/ 216 h 219"/>
                <a:gd name="T20" fmla="*/ 101 w 219"/>
                <a:gd name="T21" fmla="*/ 219 h 219"/>
                <a:gd name="T22" fmla="*/ 69 w 219"/>
                <a:gd name="T23" fmla="*/ 211 h 219"/>
                <a:gd name="T24" fmla="*/ 37 w 219"/>
                <a:gd name="T25" fmla="*/ 193 h 219"/>
                <a:gd name="T26" fmla="*/ 17 w 219"/>
                <a:gd name="T27" fmla="*/ 167 h 219"/>
                <a:gd name="T28" fmla="*/ 3 w 219"/>
                <a:gd name="T29" fmla="*/ 136 h 219"/>
                <a:gd name="T30" fmla="*/ 0 w 219"/>
                <a:gd name="T31" fmla="*/ 101 h 219"/>
                <a:gd name="T32" fmla="*/ 9 w 219"/>
                <a:gd name="T33" fmla="*/ 69 h 219"/>
                <a:gd name="T34" fmla="*/ 26 w 219"/>
                <a:gd name="T35" fmla="*/ 38 h 219"/>
                <a:gd name="T36" fmla="*/ 52 w 219"/>
                <a:gd name="T37" fmla="*/ 15 h 219"/>
                <a:gd name="T38" fmla="*/ 84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6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6" y="81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9" y="211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9" y="69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4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4" name="Freeform 42">
              <a:extLst>
                <a:ext uri="{FF2B5EF4-FFF2-40B4-BE49-F238E27FC236}">
                  <a16:creationId xmlns:a16="http://schemas.microsoft.com/office/drawing/2014/main" id="{3AF49136-020C-47E4-B573-DCF6BFB43B9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896289" y="3992415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0 w 219"/>
                <a:gd name="T3" fmla="*/ 9 h 219"/>
                <a:gd name="T4" fmla="*/ 181 w 219"/>
                <a:gd name="T5" fmla="*/ 26 h 219"/>
                <a:gd name="T6" fmla="*/ 205 w 219"/>
                <a:gd name="T7" fmla="*/ 52 h 219"/>
                <a:gd name="T8" fmla="*/ 216 w 219"/>
                <a:gd name="T9" fmla="*/ 84 h 219"/>
                <a:gd name="T10" fmla="*/ 219 w 219"/>
                <a:gd name="T11" fmla="*/ 118 h 219"/>
                <a:gd name="T12" fmla="*/ 210 w 219"/>
                <a:gd name="T13" fmla="*/ 153 h 219"/>
                <a:gd name="T14" fmla="*/ 193 w 219"/>
                <a:gd name="T15" fmla="*/ 182 h 219"/>
                <a:gd name="T16" fmla="*/ 167 w 219"/>
                <a:gd name="T17" fmla="*/ 205 h 219"/>
                <a:gd name="T18" fmla="*/ 135 w 219"/>
                <a:gd name="T19" fmla="*/ 216 h 219"/>
                <a:gd name="T20" fmla="*/ 104 w 219"/>
                <a:gd name="T21" fmla="*/ 219 h 219"/>
                <a:gd name="T22" fmla="*/ 69 w 219"/>
                <a:gd name="T23" fmla="*/ 211 h 219"/>
                <a:gd name="T24" fmla="*/ 40 w 219"/>
                <a:gd name="T25" fmla="*/ 193 h 219"/>
                <a:gd name="T26" fmla="*/ 17 w 219"/>
                <a:gd name="T27" fmla="*/ 167 h 219"/>
                <a:gd name="T28" fmla="*/ 3 w 219"/>
                <a:gd name="T29" fmla="*/ 139 h 219"/>
                <a:gd name="T30" fmla="*/ 0 w 219"/>
                <a:gd name="T31" fmla="*/ 104 h 219"/>
                <a:gd name="T32" fmla="*/ 9 w 219"/>
                <a:gd name="T33" fmla="*/ 69 h 219"/>
                <a:gd name="T34" fmla="*/ 26 w 219"/>
                <a:gd name="T35" fmla="*/ 41 h 219"/>
                <a:gd name="T36" fmla="*/ 52 w 219"/>
                <a:gd name="T37" fmla="*/ 18 h 219"/>
                <a:gd name="T38" fmla="*/ 83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0" y="9"/>
                  </a:lnTo>
                  <a:lnTo>
                    <a:pt x="181" y="26"/>
                  </a:lnTo>
                  <a:lnTo>
                    <a:pt x="205" y="52"/>
                  </a:lnTo>
                  <a:lnTo>
                    <a:pt x="216" y="84"/>
                  </a:lnTo>
                  <a:lnTo>
                    <a:pt x="219" y="118"/>
                  </a:lnTo>
                  <a:lnTo>
                    <a:pt x="210" y="153"/>
                  </a:lnTo>
                  <a:lnTo>
                    <a:pt x="193" y="182"/>
                  </a:lnTo>
                  <a:lnTo>
                    <a:pt x="167" y="205"/>
                  </a:lnTo>
                  <a:lnTo>
                    <a:pt x="135" y="216"/>
                  </a:lnTo>
                  <a:lnTo>
                    <a:pt x="104" y="219"/>
                  </a:lnTo>
                  <a:lnTo>
                    <a:pt x="69" y="211"/>
                  </a:lnTo>
                  <a:lnTo>
                    <a:pt x="40" y="193"/>
                  </a:lnTo>
                  <a:lnTo>
                    <a:pt x="17" y="167"/>
                  </a:lnTo>
                  <a:lnTo>
                    <a:pt x="3" y="139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41"/>
                  </a:lnTo>
                  <a:lnTo>
                    <a:pt x="52" y="18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5" name="Freeform 43">
              <a:extLst>
                <a:ext uri="{FF2B5EF4-FFF2-40B4-BE49-F238E27FC236}">
                  <a16:creationId xmlns:a16="http://schemas.microsoft.com/office/drawing/2014/main" id="{434EC7D5-20EF-4EAF-ACF9-B7CA3A64D63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672273" y="3976414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49 w 219"/>
                <a:gd name="T3" fmla="*/ 9 h 219"/>
                <a:gd name="T4" fmla="*/ 181 w 219"/>
                <a:gd name="T5" fmla="*/ 26 h 219"/>
                <a:gd name="T6" fmla="*/ 201 w 219"/>
                <a:gd name="T7" fmla="*/ 52 h 219"/>
                <a:gd name="T8" fmla="*/ 216 w 219"/>
                <a:gd name="T9" fmla="*/ 84 h 219"/>
                <a:gd name="T10" fmla="*/ 219 w 219"/>
                <a:gd name="T11" fmla="*/ 119 h 219"/>
                <a:gd name="T12" fmla="*/ 210 w 219"/>
                <a:gd name="T13" fmla="*/ 150 h 219"/>
                <a:gd name="T14" fmla="*/ 193 w 219"/>
                <a:gd name="T15" fmla="*/ 182 h 219"/>
                <a:gd name="T16" fmla="*/ 167 w 219"/>
                <a:gd name="T17" fmla="*/ 202 h 219"/>
                <a:gd name="T18" fmla="*/ 135 w 219"/>
                <a:gd name="T19" fmla="*/ 217 h 219"/>
                <a:gd name="T20" fmla="*/ 103 w 219"/>
                <a:gd name="T21" fmla="*/ 219 h 219"/>
                <a:gd name="T22" fmla="*/ 69 w 219"/>
                <a:gd name="T23" fmla="*/ 211 h 219"/>
                <a:gd name="T24" fmla="*/ 37 w 219"/>
                <a:gd name="T25" fmla="*/ 194 h 219"/>
                <a:gd name="T26" fmla="*/ 17 w 219"/>
                <a:gd name="T27" fmla="*/ 168 h 219"/>
                <a:gd name="T28" fmla="*/ 2 w 219"/>
                <a:gd name="T29" fmla="*/ 136 h 219"/>
                <a:gd name="T30" fmla="*/ 0 w 219"/>
                <a:gd name="T31" fmla="*/ 104 h 219"/>
                <a:gd name="T32" fmla="*/ 8 w 219"/>
                <a:gd name="T33" fmla="*/ 70 h 219"/>
                <a:gd name="T34" fmla="*/ 25 w 219"/>
                <a:gd name="T35" fmla="*/ 38 h 219"/>
                <a:gd name="T36" fmla="*/ 51 w 219"/>
                <a:gd name="T37" fmla="*/ 18 h 219"/>
                <a:gd name="T38" fmla="*/ 83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49" y="9"/>
                  </a:lnTo>
                  <a:lnTo>
                    <a:pt x="181" y="26"/>
                  </a:lnTo>
                  <a:lnTo>
                    <a:pt x="201" y="52"/>
                  </a:lnTo>
                  <a:lnTo>
                    <a:pt x="216" y="84"/>
                  </a:lnTo>
                  <a:lnTo>
                    <a:pt x="219" y="119"/>
                  </a:lnTo>
                  <a:lnTo>
                    <a:pt x="210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5" y="217"/>
                  </a:lnTo>
                  <a:lnTo>
                    <a:pt x="103" y="219"/>
                  </a:lnTo>
                  <a:lnTo>
                    <a:pt x="69" y="211"/>
                  </a:lnTo>
                  <a:lnTo>
                    <a:pt x="37" y="194"/>
                  </a:lnTo>
                  <a:lnTo>
                    <a:pt x="17" y="168"/>
                  </a:lnTo>
                  <a:lnTo>
                    <a:pt x="2" y="136"/>
                  </a:lnTo>
                  <a:lnTo>
                    <a:pt x="0" y="104"/>
                  </a:lnTo>
                  <a:lnTo>
                    <a:pt x="8" y="70"/>
                  </a:lnTo>
                  <a:lnTo>
                    <a:pt x="25" y="38"/>
                  </a:lnTo>
                  <a:lnTo>
                    <a:pt x="51" y="18"/>
                  </a:lnTo>
                  <a:lnTo>
                    <a:pt x="83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6" name="Freeform 44">
              <a:extLst>
                <a:ext uri="{FF2B5EF4-FFF2-40B4-BE49-F238E27FC236}">
                  <a16:creationId xmlns:a16="http://schemas.microsoft.com/office/drawing/2014/main" id="{C09D97D9-6124-4999-92F7-269ED0E9E03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460257" y="3904409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8 h 219"/>
                <a:gd name="T4" fmla="*/ 178 w 219"/>
                <a:gd name="T5" fmla="*/ 26 h 219"/>
                <a:gd name="T6" fmla="*/ 202 w 219"/>
                <a:gd name="T7" fmla="*/ 52 h 219"/>
                <a:gd name="T8" fmla="*/ 216 w 219"/>
                <a:gd name="T9" fmla="*/ 83 h 219"/>
                <a:gd name="T10" fmla="*/ 219 w 219"/>
                <a:gd name="T11" fmla="*/ 115 h 219"/>
                <a:gd name="T12" fmla="*/ 210 w 219"/>
                <a:gd name="T13" fmla="*/ 150 h 219"/>
                <a:gd name="T14" fmla="*/ 193 w 219"/>
                <a:gd name="T15" fmla="*/ 181 h 219"/>
                <a:gd name="T16" fmla="*/ 167 w 219"/>
                <a:gd name="T17" fmla="*/ 202 h 219"/>
                <a:gd name="T18" fmla="*/ 135 w 219"/>
                <a:gd name="T19" fmla="*/ 216 h 219"/>
                <a:gd name="T20" fmla="*/ 101 w 219"/>
                <a:gd name="T21" fmla="*/ 219 h 219"/>
                <a:gd name="T22" fmla="*/ 69 w 219"/>
                <a:gd name="T23" fmla="*/ 210 h 219"/>
                <a:gd name="T24" fmla="*/ 37 w 219"/>
                <a:gd name="T25" fmla="*/ 193 h 219"/>
                <a:gd name="T26" fmla="*/ 17 w 219"/>
                <a:gd name="T27" fmla="*/ 167 h 219"/>
                <a:gd name="T28" fmla="*/ 3 w 219"/>
                <a:gd name="T29" fmla="*/ 135 h 219"/>
                <a:gd name="T30" fmla="*/ 0 w 219"/>
                <a:gd name="T31" fmla="*/ 101 h 219"/>
                <a:gd name="T32" fmla="*/ 8 w 219"/>
                <a:gd name="T33" fmla="*/ 69 h 219"/>
                <a:gd name="T34" fmla="*/ 26 w 219"/>
                <a:gd name="T35" fmla="*/ 37 h 219"/>
                <a:gd name="T36" fmla="*/ 52 w 219"/>
                <a:gd name="T37" fmla="*/ 17 h 219"/>
                <a:gd name="T38" fmla="*/ 80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8"/>
                  </a:lnTo>
                  <a:lnTo>
                    <a:pt x="178" y="26"/>
                  </a:lnTo>
                  <a:lnTo>
                    <a:pt x="202" y="52"/>
                  </a:lnTo>
                  <a:lnTo>
                    <a:pt x="216" y="83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81"/>
                  </a:lnTo>
                  <a:lnTo>
                    <a:pt x="167" y="202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9" y="210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8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0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7" name="Freeform 45">
              <a:extLst>
                <a:ext uri="{FF2B5EF4-FFF2-40B4-BE49-F238E27FC236}">
                  <a16:creationId xmlns:a16="http://schemas.microsoft.com/office/drawing/2014/main" id="{42C70BC2-55F9-4A89-9D7C-190C75D64FB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273844" y="3784400"/>
              <a:ext cx="175213" cy="172813"/>
            </a:xfrm>
            <a:custGeom>
              <a:avLst/>
              <a:gdLst>
                <a:gd name="T0" fmla="*/ 118 w 219"/>
                <a:gd name="T1" fmla="*/ 0 h 216"/>
                <a:gd name="T2" fmla="*/ 150 w 219"/>
                <a:gd name="T3" fmla="*/ 5 h 216"/>
                <a:gd name="T4" fmla="*/ 182 w 219"/>
                <a:gd name="T5" fmla="*/ 25 h 216"/>
                <a:gd name="T6" fmla="*/ 205 w 219"/>
                <a:gd name="T7" fmla="*/ 49 h 216"/>
                <a:gd name="T8" fmla="*/ 216 w 219"/>
                <a:gd name="T9" fmla="*/ 80 h 216"/>
                <a:gd name="T10" fmla="*/ 219 w 219"/>
                <a:gd name="T11" fmla="*/ 115 h 216"/>
                <a:gd name="T12" fmla="*/ 211 w 219"/>
                <a:gd name="T13" fmla="*/ 149 h 216"/>
                <a:gd name="T14" fmla="*/ 193 w 219"/>
                <a:gd name="T15" fmla="*/ 178 h 216"/>
                <a:gd name="T16" fmla="*/ 167 w 219"/>
                <a:gd name="T17" fmla="*/ 201 h 216"/>
                <a:gd name="T18" fmla="*/ 139 w 219"/>
                <a:gd name="T19" fmla="*/ 213 h 216"/>
                <a:gd name="T20" fmla="*/ 104 w 219"/>
                <a:gd name="T21" fmla="*/ 216 h 216"/>
                <a:gd name="T22" fmla="*/ 69 w 219"/>
                <a:gd name="T23" fmla="*/ 210 h 216"/>
                <a:gd name="T24" fmla="*/ 41 w 219"/>
                <a:gd name="T25" fmla="*/ 190 h 216"/>
                <a:gd name="T26" fmla="*/ 18 w 219"/>
                <a:gd name="T27" fmla="*/ 164 h 216"/>
                <a:gd name="T28" fmla="*/ 6 w 219"/>
                <a:gd name="T29" fmla="*/ 135 h 216"/>
                <a:gd name="T30" fmla="*/ 0 w 219"/>
                <a:gd name="T31" fmla="*/ 100 h 216"/>
                <a:gd name="T32" fmla="*/ 9 w 219"/>
                <a:gd name="T33" fmla="*/ 66 h 216"/>
                <a:gd name="T34" fmla="*/ 29 w 219"/>
                <a:gd name="T35" fmla="*/ 37 h 216"/>
                <a:gd name="T36" fmla="*/ 52 w 219"/>
                <a:gd name="T37" fmla="*/ 14 h 216"/>
                <a:gd name="T38" fmla="*/ 84 w 219"/>
                <a:gd name="T39" fmla="*/ 2 h 216"/>
                <a:gd name="T40" fmla="*/ 118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8" y="0"/>
                  </a:moveTo>
                  <a:lnTo>
                    <a:pt x="150" y="5"/>
                  </a:lnTo>
                  <a:lnTo>
                    <a:pt x="182" y="25"/>
                  </a:lnTo>
                  <a:lnTo>
                    <a:pt x="205" y="49"/>
                  </a:lnTo>
                  <a:lnTo>
                    <a:pt x="216" y="80"/>
                  </a:lnTo>
                  <a:lnTo>
                    <a:pt x="219" y="115"/>
                  </a:lnTo>
                  <a:lnTo>
                    <a:pt x="211" y="149"/>
                  </a:lnTo>
                  <a:lnTo>
                    <a:pt x="193" y="178"/>
                  </a:lnTo>
                  <a:lnTo>
                    <a:pt x="167" y="201"/>
                  </a:lnTo>
                  <a:lnTo>
                    <a:pt x="139" y="213"/>
                  </a:lnTo>
                  <a:lnTo>
                    <a:pt x="104" y="216"/>
                  </a:lnTo>
                  <a:lnTo>
                    <a:pt x="69" y="210"/>
                  </a:lnTo>
                  <a:lnTo>
                    <a:pt x="41" y="190"/>
                  </a:lnTo>
                  <a:lnTo>
                    <a:pt x="18" y="164"/>
                  </a:lnTo>
                  <a:lnTo>
                    <a:pt x="6" y="135"/>
                  </a:lnTo>
                  <a:lnTo>
                    <a:pt x="0" y="100"/>
                  </a:lnTo>
                  <a:lnTo>
                    <a:pt x="9" y="66"/>
                  </a:lnTo>
                  <a:lnTo>
                    <a:pt x="29" y="37"/>
                  </a:lnTo>
                  <a:lnTo>
                    <a:pt x="52" y="14"/>
                  </a:lnTo>
                  <a:lnTo>
                    <a:pt x="84" y="2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8" name="Freeform 46">
              <a:extLst>
                <a:ext uri="{FF2B5EF4-FFF2-40B4-BE49-F238E27FC236}">
                  <a16:creationId xmlns:a16="http://schemas.microsoft.com/office/drawing/2014/main" id="{78C0B87E-E319-4DF4-9999-9213D2C6F94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121033" y="3618788"/>
              <a:ext cx="176013" cy="175213"/>
            </a:xfrm>
            <a:custGeom>
              <a:avLst/>
              <a:gdLst>
                <a:gd name="T0" fmla="*/ 119 w 220"/>
                <a:gd name="T1" fmla="*/ 0 h 219"/>
                <a:gd name="T2" fmla="*/ 150 w 220"/>
                <a:gd name="T3" fmla="*/ 6 h 219"/>
                <a:gd name="T4" fmla="*/ 182 w 220"/>
                <a:gd name="T5" fmla="*/ 26 h 219"/>
                <a:gd name="T6" fmla="*/ 202 w 220"/>
                <a:gd name="T7" fmla="*/ 52 h 219"/>
                <a:gd name="T8" fmla="*/ 217 w 220"/>
                <a:gd name="T9" fmla="*/ 81 h 219"/>
                <a:gd name="T10" fmla="*/ 220 w 220"/>
                <a:gd name="T11" fmla="*/ 115 h 219"/>
                <a:gd name="T12" fmla="*/ 211 w 220"/>
                <a:gd name="T13" fmla="*/ 150 h 219"/>
                <a:gd name="T14" fmla="*/ 194 w 220"/>
                <a:gd name="T15" fmla="*/ 179 h 219"/>
                <a:gd name="T16" fmla="*/ 168 w 220"/>
                <a:gd name="T17" fmla="*/ 202 h 219"/>
                <a:gd name="T18" fmla="*/ 136 w 220"/>
                <a:gd name="T19" fmla="*/ 213 h 219"/>
                <a:gd name="T20" fmla="*/ 104 w 220"/>
                <a:gd name="T21" fmla="*/ 219 h 219"/>
                <a:gd name="T22" fmla="*/ 70 w 220"/>
                <a:gd name="T23" fmla="*/ 211 h 219"/>
                <a:gd name="T24" fmla="*/ 38 w 220"/>
                <a:gd name="T25" fmla="*/ 193 h 219"/>
                <a:gd name="T26" fmla="*/ 18 w 220"/>
                <a:gd name="T27" fmla="*/ 167 h 219"/>
                <a:gd name="T28" fmla="*/ 3 w 220"/>
                <a:gd name="T29" fmla="*/ 136 h 219"/>
                <a:gd name="T30" fmla="*/ 0 w 220"/>
                <a:gd name="T31" fmla="*/ 101 h 219"/>
                <a:gd name="T32" fmla="*/ 9 w 220"/>
                <a:gd name="T33" fmla="*/ 69 h 219"/>
                <a:gd name="T34" fmla="*/ 26 w 220"/>
                <a:gd name="T35" fmla="*/ 38 h 219"/>
                <a:gd name="T36" fmla="*/ 52 w 220"/>
                <a:gd name="T37" fmla="*/ 15 h 219"/>
                <a:gd name="T38" fmla="*/ 84 w 220"/>
                <a:gd name="T39" fmla="*/ 3 h 219"/>
                <a:gd name="T40" fmla="*/ 119 w 220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0" h="219">
                  <a:moveTo>
                    <a:pt x="119" y="0"/>
                  </a:moveTo>
                  <a:lnTo>
                    <a:pt x="150" y="6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7" y="81"/>
                  </a:lnTo>
                  <a:lnTo>
                    <a:pt x="220" y="115"/>
                  </a:lnTo>
                  <a:lnTo>
                    <a:pt x="211" y="150"/>
                  </a:lnTo>
                  <a:lnTo>
                    <a:pt x="194" y="179"/>
                  </a:lnTo>
                  <a:lnTo>
                    <a:pt x="168" y="202"/>
                  </a:lnTo>
                  <a:lnTo>
                    <a:pt x="136" y="213"/>
                  </a:lnTo>
                  <a:lnTo>
                    <a:pt x="104" y="219"/>
                  </a:lnTo>
                  <a:lnTo>
                    <a:pt x="70" y="211"/>
                  </a:lnTo>
                  <a:lnTo>
                    <a:pt x="38" y="193"/>
                  </a:lnTo>
                  <a:lnTo>
                    <a:pt x="18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9" y="69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4" y="3"/>
                  </a:lnTo>
                  <a:lnTo>
                    <a:pt x="1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9" name="Freeform 47">
              <a:extLst>
                <a:ext uri="{FF2B5EF4-FFF2-40B4-BE49-F238E27FC236}">
                  <a16:creationId xmlns:a16="http://schemas.microsoft.com/office/drawing/2014/main" id="{0BE053EF-8C76-4740-A96F-2279D22A424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015425" y="3422774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82 w 219"/>
                <a:gd name="T5" fmla="*/ 26 h 219"/>
                <a:gd name="T6" fmla="*/ 202 w 219"/>
                <a:gd name="T7" fmla="*/ 52 h 219"/>
                <a:gd name="T8" fmla="*/ 216 w 219"/>
                <a:gd name="T9" fmla="*/ 84 h 219"/>
                <a:gd name="T10" fmla="*/ 219 w 219"/>
                <a:gd name="T11" fmla="*/ 115 h 219"/>
                <a:gd name="T12" fmla="*/ 211 w 219"/>
                <a:gd name="T13" fmla="*/ 150 h 219"/>
                <a:gd name="T14" fmla="*/ 193 w 219"/>
                <a:gd name="T15" fmla="*/ 182 h 219"/>
                <a:gd name="T16" fmla="*/ 167 w 219"/>
                <a:gd name="T17" fmla="*/ 202 h 219"/>
                <a:gd name="T18" fmla="*/ 136 w 219"/>
                <a:gd name="T19" fmla="*/ 216 h 219"/>
                <a:gd name="T20" fmla="*/ 104 w 219"/>
                <a:gd name="T21" fmla="*/ 219 h 219"/>
                <a:gd name="T22" fmla="*/ 69 w 219"/>
                <a:gd name="T23" fmla="*/ 211 h 219"/>
                <a:gd name="T24" fmla="*/ 38 w 219"/>
                <a:gd name="T25" fmla="*/ 193 h 219"/>
                <a:gd name="T26" fmla="*/ 17 w 219"/>
                <a:gd name="T27" fmla="*/ 167 h 219"/>
                <a:gd name="T28" fmla="*/ 3 w 219"/>
                <a:gd name="T29" fmla="*/ 136 h 219"/>
                <a:gd name="T30" fmla="*/ 0 w 219"/>
                <a:gd name="T31" fmla="*/ 104 h 219"/>
                <a:gd name="T32" fmla="*/ 9 w 219"/>
                <a:gd name="T33" fmla="*/ 69 h 219"/>
                <a:gd name="T34" fmla="*/ 26 w 219"/>
                <a:gd name="T35" fmla="*/ 38 h 219"/>
                <a:gd name="T36" fmla="*/ 52 w 219"/>
                <a:gd name="T37" fmla="*/ 17 h 219"/>
                <a:gd name="T38" fmla="*/ 84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4"/>
                  </a:lnTo>
                  <a:lnTo>
                    <a:pt x="219" y="115"/>
                  </a:lnTo>
                  <a:lnTo>
                    <a:pt x="211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69" y="211"/>
                  </a:lnTo>
                  <a:lnTo>
                    <a:pt x="38" y="193"/>
                  </a:lnTo>
                  <a:lnTo>
                    <a:pt x="17" y="167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38"/>
                  </a:lnTo>
                  <a:lnTo>
                    <a:pt x="52" y="17"/>
                  </a:lnTo>
                  <a:lnTo>
                    <a:pt x="84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0" name="Freeform 48">
              <a:extLst>
                <a:ext uri="{FF2B5EF4-FFF2-40B4-BE49-F238E27FC236}">
                  <a16:creationId xmlns:a16="http://schemas.microsoft.com/office/drawing/2014/main" id="{337F754F-A904-43DB-88F3-EFD43C1DA55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961821" y="3205958"/>
              <a:ext cx="173613" cy="175213"/>
            </a:xfrm>
            <a:custGeom>
              <a:avLst/>
              <a:gdLst>
                <a:gd name="T0" fmla="*/ 116 w 217"/>
                <a:gd name="T1" fmla="*/ 0 h 219"/>
                <a:gd name="T2" fmla="*/ 150 w 217"/>
                <a:gd name="T3" fmla="*/ 9 h 219"/>
                <a:gd name="T4" fmla="*/ 179 w 217"/>
                <a:gd name="T5" fmla="*/ 26 h 219"/>
                <a:gd name="T6" fmla="*/ 202 w 217"/>
                <a:gd name="T7" fmla="*/ 52 h 219"/>
                <a:gd name="T8" fmla="*/ 214 w 217"/>
                <a:gd name="T9" fmla="*/ 84 h 219"/>
                <a:gd name="T10" fmla="*/ 217 w 217"/>
                <a:gd name="T11" fmla="*/ 115 h 219"/>
                <a:gd name="T12" fmla="*/ 211 w 217"/>
                <a:gd name="T13" fmla="*/ 150 h 219"/>
                <a:gd name="T14" fmla="*/ 191 w 217"/>
                <a:gd name="T15" fmla="*/ 182 h 219"/>
                <a:gd name="T16" fmla="*/ 165 w 217"/>
                <a:gd name="T17" fmla="*/ 202 h 219"/>
                <a:gd name="T18" fmla="*/ 136 w 217"/>
                <a:gd name="T19" fmla="*/ 216 h 219"/>
                <a:gd name="T20" fmla="*/ 101 w 217"/>
                <a:gd name="T21" fmla="*/ 219 h 219"/>
                <a:gd name="T22" fmla="*/ 67 w 217"/>
                <a:gd name="T23" fmla="*/ 210 h 219"/>
                <a:gd name="T24" fmla="*/ 38 w 217"/>
                <a:gd name="T25" fmla="*/ 193 h 219"/>
                <a:gd name="T26" fmla="*/ 15 w 217"/>
                <a:gd name="T27" fmla="*/ 167 h 219"/>
                <a:gd name="T28" fmla="*/ 3 w 217"/>
                <a:gd name="T29" fmla="*/ 136 h 219"/>
                <a:gd name="T30" fmla="*/ 0 w 217"/>
                <a:gd name="T31" fmla="*/ 104 h 219"/>
                <a:gd name="T32" fmla="*/ 6 w 217"/>
                <a:gd name="T33" fmla="*/ 69 h 219"/>
                <a:gd name="T34" fmla="*/ 26 w 217"/>
                <a:gd name="T35" fmla="*/ 38 h 219"/>
                <a:gd name="T36" fmla="*/ 52 w 217"/>
                <a:gd name="T37" fmla="*/ 17 h 219"/>
                <a:gd name="T38" fmla="*/ 81 w 217"/>
                <a:gd name="T39" fmla="*/ 3 h 219"/>
                <a:gd name="T40" fmla="*/ 116 w 217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7" h="219">
                  <a:moveTo>
                    <a:pt x="116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4" y="84"/>
                  </a:lnTo>
                  <a:lnTo>
                    <a:pt x="217" y="115"/>
                  </a:lnTo>
                  <a:lnTo>
                    <a:pt x="211" y="150"/>
                  </a:lnTo>
                  <a:lnTo>
                    <a:pt x="191" y="182"/>
                  </a:lnTo>
                  <a:lnTo>
                    <a:pt x="165" y="202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7" y="210"/>
                  </a:lnTo>
                  <a:lnTo>
                    <a:pt x="38" y="193"/>
                  </a:lnTo>
                  <a:lnTo>
                    <a:pt x="15" y="167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6" y="69"/>
                  </a:lnTo>
                  <a:lnTo>
                    <a:pt x="26" y="38"/>
                  </a:lnTo>
                  <a:lnTo>
                    <a:pt x="52" y="17"/>
                  </a:lnTo>
                  <a:lnTo>
                    <a:pt x="81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1" name="Freeform 49">
              <a:extLst>
                <a:ext uri="{FF2B5EF4-FFF2-40B4-BE49-F238E27FC236}">
                  <a16:creationId xmlns:a16="http://schemas.microsoft.com/office/drawing/2014/main" id="{1934C5CE-3379-40CE-B794-06052597A91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961821" y="2981941"/>
              <a:ext cx="176013" cy="175213"/>
            </a:xfrm>
            <a:custGeom>
              <a:avLst/>
              <a:gdLst>
                <a:gd name="T0" fmla="*/ 116 w 220"/>
                <a:gd name="T1" fmla="*/ 0 h 219"/>
                <a:gd name="T2" fmla="*/ 150 w 220"/>
                <a:gd name="T3" fmla="*/ 8 h 219"/>
                <a:gd name="T4" fmla="*/ 179 w 220"/>
                <a:gd name="T5" fmla="*/ 26 h 219"/>
                <a:gd name="T6" fmla="*/ 202 w 220"/>
                <a:gd name="T7" fmla="*/ 52 h 219"/>
                <a:gd name="T8" fmla="*/ 217 w 220"/>
                <a:gd name="T9" fmla="*/ 83 h 219"/>
                <a:gd name="T10" fmla="*/ 220 w 220"/>
                <a:gd name="T11" fmla="*/ 115 h 219"/>
                <a:gd name="T12" fmla="*/ 211 w 220"/>
                <a:gd name="T13" fmla="*/ 150 h 219"/>
                <a:gd name="T14" fmla="*/ 194 w 220"/>
                <a:gd name="T15" fmla="*/ 181 h 219"/>
                <a:gd name="T16" fmla="*/ 168 w 220"/>
                <a:gd name="T17" fmla="*/ 201 h 219"/>
                <a:gd name="T18" fmla="*/ 136 w 220"/>
                <a:gd name="T19" fmla="*/ 216 h 219"/>
                <a:gd name="T20" fmla="*/ 101 w 220"/>
                <a:gd name="T21" fmla="*/ 219 h 219"/>
                <a:gd name="T22" fmla="*/ 67 w 220"/>
                <a:gd name="T23" fmla="*/ 210 h 219"/>
                <a:gd name="T24" fmla="*/ 38 w 220"/>
                <a:gd name="T25" fmla="*/ 193 h 219"/>
                <a:gd name="T26" fmla="*/ 15 w 220"/>
                <a:gd name="T27" fmla="*/ 167 h 219"/>
                <a:gd name="T28" fmla="*/ 3 w 220"/>
                <a:gd name="T29" fmla="*/ 135 h 219"/>
                <a:gd name="T30" fmla="*/ 0 w 220"/>
                <a:gd name="T31" fmla="*/ 103 h 219"/>
                <a:gd name="T32" fmla="*/ 6 w 220"/>
                <a:gd name="T33" fmla="*/ 69 h 219"/>
                <a:gd name="T34" fmla="*/ 26 w 220"/>
                <a:gd name="T35" fmla="*/ 37 h 219"/>
                <a:gd name="T36" fmla="*/ 52 w 220"/>
                <a:gd name="T37" fmla="*/ 17 h 219"/>
                <a:gd name="T38" fmla="*/ 81 w 220"/>
                <a:gd name="T39" fmla="*/ 3 h 219"/>
                <a:gd name="T40" fmla="*/ 116 w 220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0" h="219">
                  <a:moveTo>
                    <a:pt x="116" y="0"/>
                  </a:moveTo>
                  <a:lnTo>
                    <a:pt x="150" y="8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7" y="83"/>
                  </a:lnTo>
                  <a:lnTo>
                    <a:pt x="220" y="115"/>
                  </a:lnTo>
                  <a:lnTo>
                    <a:pt x="211" y="150"/>
                  </a:lnTo>
                  <a:lnTo>
                    <a:pt x="194" y="181"/>
                  </a:lnTo>
                  <a:lnTo>
                    <a:pt x="168" y="201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7" y="210"/>
                  </a:lnTo>
                  <a:lnTo>
                    <a:pt x="38" y="193"/>
                  </a:lnTo>
                  <a:lnTo>
                    <a:pt x="15" y="167"/>
                  </a:lnTo>
                  <a:lnTo>
                    <a:pt x="3" y="135"/>
                  </a:lnTo>
                  <a:lnTo>
                    <a:pt x="0" y="103"/>
                  </a:lnTo>
                  <a:lnTo>
                    <a:pt x="6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1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2" name="Freeform 50">
              <a:extLst>
                <a:ext uri="{FF2B5EF4-FFF2-40B4-BE49-F238E27FC236}">
                  <a16:creationId xmlns:a16="http://schemas.microsoft.com/office/drawing/2014/main" id="{54133C51-ED7D-45B4-B96A-9162BC885DB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856213" y="2698721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50 w 216"/>
                <a:gd name="T3" fmla="*/ 9 h 219"/>
                <a:gd name="T4" fmla="*/ 179 w 216"/>
                <a:gd name="T5" fmla="*/ 26 h 219"/>
                <a:gd name="T6" fmla="*/ 202 w 216"/>
                <a:gd name="T7" fmla="*/ 52 h 219"/>
                <a:gd name="T8" fmla="*/ 213 w 216"/>
                <a:gd name="T9" fmla="*/ 84 h 219"/>
                <a:gd name="T10" fmla="*/ 216 w 216"/>
                <a:gd name="T11" fmla="*/ 115 h 219"/>
                <a:gd name="T12" fmla="*/ 210 w 216"/>
                <a:gd name="T13" fmla="*/ 150 h 219"/>
                <a:gd name="T14" fmla="*/ 190 w 216"/>
                <a:gd name="T15" fmla="*/ 179 h 219"/>
                <a:gd name="T16" fmla="*/ 167 w 216"/>
                <a:gd name="T17" fmla="*/ 202 h 219"/>
                <a:gd name="T18" fmla="*/ 135 w 216"/>
                <a:gd name="T19" fmla="*/ 216 h 219"/>
                <a:gd name="T20" fmla="*/ 101 w 216"/>
                <a:gd name="T21" fmla="*/ 219 h 219"/>
                <a:gd name="T22" fmla="*/ 66 w 216"/>
                <a:gd name="T23" fmla="*/ 211 h 219"/>
                <a:gd name="T24" fmla="*/ 37 w 216"/>
                <a:gd name="T25" fmla="*/ 193 h 219"/>
                <a:gd name="T26" fmla="*/ 14 w 216"/>
                <a:gd name="T27" fmla="*/ 167 h 219"/>
                <a:gd name="T28" fmla="*/ 3 w 216"/>
                <a:gd name="T29" fmla="*/ 136 h 219"/>
                <a:gd name="T30" fmla="*/ 0 w 216"/>
                <a:gd name="T31" fmla="*/ 101 h 219"/>
                <a:gd name="T32" fmla="*/ 6 w 216"/>
                <a:gd name="T33" fmla="*/ 69 h 219"/>
                <a:gd name="T34" fmla="*/ 26 w 216"/>
                <a:gd name="T35" fmla="*/ 38 h 219"/>
                <a:gd name="T36" fmla="*/ 52 w 216"/>
                <a:gd name="T37" fmla="*/ 15 h 219"/>
                <a:gd name="T38" fmla="*/ 81 w 216"/>
                <a:gd name="T39" fmla="*/ 3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3" y="84"/>
                  </a:lnTo>
                  <a:lnTo>
                    <a:pt x="216" y="115"/>
                  </a:lnTo>
                  <a:lnTo>
                    <a:pt x="210" y="150"/>
                  </a:lnTo>
                  <a:lnTo>
                    <a:pt x="190" y="179"/>
                  </a:lnTo>
                  <a:lnTo>
                    <a:pt x="167" y="202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6" y="211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6" y="69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3" name="Freeform 51">
              <a:extLst>
                <a:ext uri="{FF2B5EF4-FFF2-40B4-BE49-F238E27FC236}">
                  <a16:creationId xmlns:a16="http://schemas.microsoft.com/office/drawing/2014/main" id="{C22EA868-BC9B-42F9-8754-42A02F8A613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960221" y="2502707"/>
              <a:ext cx="175213" cy="175213"/>
            </a:xfrm>
            <a:custGeom>
              <a:avLst/>
              <a:gdLst>
                <a:gd name="T0" fmla="*/ 116 w 219"/>
                <a:gd name="T1" fmla="*/ 0 h 219"/>
                <a:gd name="T2" fmla="*/ 150 w 219"/>
                <a:gd name="T3" fmla="*/ 9 h 219"/>
                <a:gd name="T4" fmla="*/ 179 w 219"/>
                <a:gd name="T5" fmla="*/ 26 h 219"/>
                <a:gd name="T6" fmla="*/ 202 w 219"/>
                <a:gd name="T7" fmla="*/ 52 h 219"/>
                <a:gd name="T8" fmla="*/ 217 w 219"/>
                <a:gd name="T9" fmla="*/ 84 h 219"/>
                <a:gd name="T10" fmla="*/ 219 w 219"/>
                <a:gd name="T11" fmla="*/ 118 h 219"/>
                <a:gd name="T12" fmla="*/ 211 w 219"/>
                <a:gd name="T13" fmla="*/ 153 h 219"/>
                <a:gd name="T14" fmla="*/ 193 w 219"/>
                <a:gd name="T15" fmla="*/ 182 h 219"/>
                <a:gd name="T16" fmla="*/ 167 w 219"/>
                <a:gd name="T17" fmla="*/ 205 h 219"/>
                <a:gd name="T18" fmla="*/ 136 w 219"/>
                <a:gd name="T19" fmla="*/ 216 h 219"/>
                <a:gd name="T20" fmla="*/ 104 w 219"/>
                <a:gd name="T21" fmla="*/ 219 h 219"/>
                <a:gd name="T22" fmla="*/ 69 w 219"/>
                <a:gd name="T23" fmla="*/ 213 h 219"/>
                <a:gd name="T24" fmla="*/ 38 w 219"/>
                <a:gd name="T25" fmla="*/ 193 h 219"/>
                <a:gd name="T26" fmla="*/ 18 w 219"/>
                <a:gd name="T27" fmla="*/ 167 h 219"/>
                <a:gd name="T28" fmla="*/ 3 w 219"/>
                <a:gd name="T29" fmla="*/ 138 h 219"/>
                <a:gd name="T30" fmla="*/ 0 w 219"/>
                <a:gd name="T31" fmla="*/ 104 h 219"/>
                <a:gd name="T32" fmla="*/ 9 w 219"/>
                <a:gd name="T33" fmla="*/ 69 h 219"/>
                <a:gd name="T34" fmla="*/ 26 w 219"/>
                <a:gd name="T35" fmla="*/ 40 h 219"/>
                <a:gd name="T36" fmla="*/ 52 w 219"/>
                <a:gd name="T37" fmla="*/ 17 h 219"/>
                <a:gd name="T38" fmla="*/ 84 w 219"/>
                <a:gd name="T39" fmla="*/ 6 h 219"/>
                <a:gd name="T40" fmla="*/ 116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6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7" y="84"/>
                  </a:lnTo>
                  <a:lnTo>
                    <a:pt x="219" y="118"/>
                  </a:lnTo>
                  <a:lnTo>
                    <a:pt x="211" y="153"/>
                  </a:lnTo>
                  <a:lnTo>
                    <a:pt x="193" y="182"/>
                  </a:lnTo>
                  <a:lnTo>
                    <a:pt x="167" y="205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69" y="213"/>
                  </a:lnTo>
                  <a:lnTo>
                    <a:pt x="38" y="193"/>
                  </a:lnTo>
                  <a:lnTo>
                    <a:pt x="18" y="167"/>
                  </a:lnTo>
                  <a:lnTo>
                    <a:pt x="3" y="138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4" y="6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4" name="Freeform 52">
              <a:extLst>
                <a:ext uri="{FF2B5EF4-FFF2-40B4-BE49-F238E27FC236}">
                  <a16:creationId xmlns:a16="http://schemas.microsoft.com/office/drawing/2014/main" id="{ACC973FA-C2B5-4F3A-80AE-4F39A0506E1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105031" y="2332294"/>
              <a:ext cx="175213" cy="172813"/>
            </a:xfrm>
            <a:custGeom>
              <a:avLst/>
              <a:gdLst>
                <a:gd name="T0" fmla="*/ 118 w 219"/>
                <a:gd name="T1" fmla="*/ 0 h 216"/>
                <a:gd name="T2" fmla="*/ 152 w 219"/>
                <a:gd name="T3" fmla="*/ 6 h 216"/>
                <a:gd name="T4" fmla="*/ 181 w 219"/>
                <a:gd name="T5" fmla="*/ 26 h 216"/>
                <a:gd name="T6" fmla="*/ 204 w 219"/>
                <a:gd name="T7" fmla="*/ 52 h 216"/>
                <a:gd name="T8" fmla="*/ 216 w 219"/>
                <a:gd name="T9" fmla="*/ 81 h 216"/>
                <a:gd name="T10" fmla="*/ 219 w 219"/>
                <a:gd name="T11" fmla="*/ 116 h 216"/>
                <a:gd name="T12" fmla="*/ 213 w 219"/>
                <a:gd name="T13" fmla="*/ 150 h 216"/>
                <a:gd name="T14" fmla="*/ 193 w 219"/>
                <a:gd name="T15" fmla="*/ 179 h 216"/>
                <a:gd name="T16" fmla="*/ 167 w 219"/>
                <a:gd name="T17" fmla="*/ 202 h 216"/>
                <a:gd name="T18" fmla="*/ 138 w 219"/>
                <a:gd name="T19" fmla="*/ 214 h 216"/>
                <a:gd name="T20" fmla="*/ 103 w 219"/>
                <a:gd name="T21" fmla="*/ 216 h 216"/>
                <a:gd name="T22" fmla="*/ 69 w 219"/>
                <a:gd name="T23" fmla="*/ 211 h 216"/>
                <a:gd name="T24" fmla="*/ 40 w 219"/>
                <a:gd name="T25" fmla="*/ 190 h 216"/>
                <a:gd name="T26" fmla="*/ 17 w 219"/>
                <a:gd name="T27" fmla="*/ 167 h 216"/>
                <a:gd name="T28" fmla="*/ 5 w 219"/>
                <a:gd name="T29" fmla="*/ 136 h 216"/>
                <a:gd name="T30" fmla="*/ 0 w 219"/>
                <a:gd name="T31" fmla="*/ 101 h 216"/>
                <a:gd name="T32" fmla="*/ 8 w 219"/>
                <a:gd name="T33" fmla="*/ 67 h 216"/>
                <a:gd name="T34" fmla="*/ 26 w 219"/>
                <a:gd name="T35" fmla="*/ 38 h 216"/>
                <a:gd name="T36" fmla="*/ 52 w 219"/>
                <a:gd name="T37" fmla="*/ 15 h 216"/>
                <a:gd name="T38" fmla="*/ 83 w 219"/>
                <a:gd name="T39" fmla="*/ 3 h 216"/>
                <a:gd name="T40" fmla="*/ 118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8" y="0"/>
                  </a:moveTo>
                  <a:lnTo>
                    <a:pt x="152" y="6"/>
                  </a:lnTo>
                  <a:lnTo>
                    <a:pt x="181" y="26"/>
                  </a:lnTo>
                  <a:lnTo>
                    <a:pt x="204" y="52"/>
                  </a:lnTo>
                  <a:lnTo>
                    <a:pt x="216" y="81"/>
                  </a:lnTo>
                  <a:lnTo>
                    <a:pt x="219" y="116"/>
                  </a:lnTo>
                  <a:lnTo>
                    <a:pt x="213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8" y="214"/>
                  </a:lnTo>
                  <a:lnTo>
                    <a:pt x="103" y="216"/>
                  </a:lnTo>
                  <a:lnTo>
                    <a:pt x="69" y="211"/>
                  </a:lnTo>
                  <a:lnTo>
                    <a:pt x="40" y="190"/>
                  </a:lnTo>
                  <a:lnTo>
                    <a:pt x="17" y="167"/>
                  </a:lnTo>
                  <a:lnTo>
                    <a:pt x="5" y="136"/>
                  </a:lnTo>
                  <a:lnTo>
                    <a:pt x="0" y="101"/>
                  </a:lnTo>
                  <a:lnTo>
                    <a:pt x="8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5" name="Freeform 53">
              <a:extLst>
                <a:ext uri="{FF2B5EF4-FFF2-40B4-BE49-F238E27FC236}">
                  <a16:creationId xmlns:a16="http://schemas.microsoft.com/office/drawing/2014/main" id="{259C9312-F4C9-4998-83AB-DF17DEF7CFD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280244" y="2193884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49 w 219"/>
                <a:gd name="T3" fmla="*/ 9 h 219"/>
                <a:gd name="T4" fmla="*/ 181 w 219"/>
                <a:gd name="T5" fmla="*/ 26 h 219"/>
                <a:gd name="T6" fmla="*/ 201 w 219"/>
                <a:gd name="T7" fmla="*/ 52 h 219"/>
                <a:gd name="T8" fmla="*/ 216 w 219"/>
                <a:gd name="T9" fmla="*/ 84 h 219"/>
                <a:gd name="T10" fmla="*/ 219 w 219"/>
                <a:gd name="T11" fmla="*/ 118 h 219"/>
                <a:gd name="T12" fmla="*/ 210 w 219"/>
                <a:gd name="T13" fmla="*/ 153 h 219"/>
                <a:gd name="T14" fmla="*/ 193 w 219"/>
                <a:gd name="T15" fmla="*/ 182 h 219"/>
                <a:gd name="T16" fmla="*/ 167 w 219"/>
                <a:gd name="T17" fmla="*/ 205 h 219"/>
                <a:gd name="T18" fmla="*/ 135 w 219"/>
                <a:gd name="T19" fmla="*/ 216 h 219"/>
                <a:gd name="T20" fmla="*/ 100 w 219"/>
                <a:gd name="T21" fmla="*/ 219 h 219"/>
                <a:gd name="T22" fmla="*/ 69 w 219"/>
                <a:gd name="T23" fmla="*/ 211 h 219"/>
                <a:gd name="T24" fmla="*/ 37 w 219"/>
                <a:gd name="T25" fmla="*/ 193 h 219"/>
                <a:gd name="T26" fmla="*/ 17 w 219"/>
                <a:gd name="T27" fmla="*/ 167 h 219"/>
                <a:gd name="T28" fmla="*/ 2 w 219"/>
                <a:gd name="T29" fmla="*/ 136 h 219"/>
                <a:gd name="T30" fmla="*/ 0 w 219"/>
                <a:gd name="T31" fmla="*/ 104 h 219"/>
                <a:gd name="T32" fmla="*/ 8 w 219"/>
                <a:gd name="T33" fmla="*/ 69 h 219"/>
                <a:gd name="T34" fmla="*/ 26 w 219"/>
                <a:gd name="T35" fmla="*/ 41 h 219"/>
                <a:gd name="T36" fmla="*/ 51 w 219"/>
                <a:gd name="T37" fmla="*/ 18 h 219"/>
                <a:gd name="T38" fmla="*/ 83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49" y="9"/>
                  </a:lnTo>
                  <a:lnTo>
                    <a:pt x="181" y="26"/>
                  </a:lnTo>
                  <a:lnTo>
                    <a:pt x="201" y="52"/>
                  </a:lnTo>
                  <a:lnTo>
                    <a:pt x="216" y="84"/>
                  </a:lnTo>
                  <a:lnTo>
                    <a:pt x="219" y="118"/>
                  </a:lnTo>
                  <a:lnTo>
                    <a:pt x="210" y="153"/>
                  </a:lnTo>
                  <a:lnTo>
                    <a:pt x="193" y="182"/>
                  </a:lnTo>
                  <a:lnTo>
                    <a:pt x="167" y="205"/>
                  </a:lnTo>
                  <a:lnTo>
                    <a:pt x="135" y="216"/>
                  </a:lnTo>
                  <a:lnTo>
                    <a:pt x="100" y="219"/>
                  </a:lnTo>
                  <a:lnTo>
                    <a:pt x="69" y="211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2" y="136"/>
                  </a:lnTo>
                  <a:lnTo>
                    <a:pt x="0" y="104"/>
                  </a:lnTo>
                  <a:lnTo>
                    <a:pt x="8" y="69"/>
                  </a:lnTo>
                  <a:lnTo>
                    <a:pt x="26" y="41"/>
                  </a:lnTo>
                  <a:lnTo>
                    <a:pt x="51" y="18"/>
                  </a:lnTo>
                  <a:lnTo>
                    <a:pt x="83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6" name="Freeform 54">
              <a:extLst>
                <a:ext uri="{FF2B5EF4-FFF2-40B4-BE49-F238E27FC236}">
                  <a16:creationId xmlns:a16="http://schemas.microsoft.com/office/drawing/2014/main" id="{5CF4A658-DAF7-4FDA-ABDE-74B405B4431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481059" y="2097077"/>
              <a:ext cx="175213" cy="172813"/>
            </a:xfrm>
            <a:custGeom>
              <a:avLst/>
              <a:gdLst>
                <a:gd name="T0" fmla="*/ 115 w 219"/>
                <a:gd name="T1" fmla="*/ 0 h 216"/>
                <a:gd name="T2" fmla="*/ 150 w 219"/>
                <a:gd name="T3" fmla="*/ 6 h 216"/>
                <a:gd name="T4" fmla="*/ 179 w 219"/>
                <a:gd name="T5" fmla="*/ 26 h 216"/>
                <a:gd name="T6" fmla="*/ 202 w 219"/>
                <a:gd name="T7" fmla="*/ 52 h 216"/>
                <a:gd name="T8" fmla="*/ 216 w 219"/>
                <a:gd name="T9" fmla="*/ 81 h 216"/>
                <a:gd name="T10" fmla="*/ 219 w 219"/>
                <a:gd name="T11" fmla="*/ 116 h 216"/>
                <a:gd name="T12" fmla="*/ 210 w 219"/>
                <a:gd name="T13" fmla="*/ 150 h 216"/>
                <a:gd name="T14" fmla="*/ 193 w 219"/>
                <a:gd name="T15" fmla="*/ 179 h 216"/>
                <a:gd name="T16" fmla="*/ 167 w 219"/>
                <a:gd name="T17" fmla="*/ 202 h 216"/>
                <a:gd name="T18" fmla="*/ 135 w 219"/>
                <a:gd name="T19" fmla="*/ 214 h 216"/>
                <a:gd name="T20" fmla="*/ 101 w 219"/>
                <a:gd name="T21" fmla="*/ 216 h 216"/>
                <a:gd name="T22" fmla="*/ 66 w 219"/>
                <a:gd name="T23" fmla="*/ 211 h 216"/>
                <a:gd name="T24" fmla="*/ 37 w 219"/>
                <a:gd name="T25" fmla="*/ 193 h 216"/>
                <a:gd name="T26" fmla="*/ 14 w 219"/>
                <a:gd name="T27" fmla="*/ 167 h 216"/>
                <a:gd name="T28" fmla="*/ 3 w 219"/>
                <a:gd name="T29" fmla="*/ 136 h 216"/>
                <a:gd name="T30" fmla="*/ 0 w 219"/>
                <a:gd name="T31" fmla="*/ 101 h 216"/>
                <a:gd name="T32" fmla="*/ 6 w 219"/>
                <a:gd name="T33" fmla="*/ 67 h 216"/>
                <a:gd name="T34" fmla="*/ 26 w 219"/>
                <a:gd name="T35" fmla="*/ 38 h 216"/>
                <a:gd name="T36" fmla="*/ 52 w 219"/>
                <a:gd name="T37" fmla="*/ 15 h 216"/>
                <a:gd name="T38" fmla="*/ 80 w 219"/>
                <a:gd name="T39" fmla="*/ 3 h 216"/>
                <a:gd name="T40" fmla="*/ 115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5" y="0"/>
                  </a:moveTo>
                  <a:lnTo>
                    <a:pt x="150" y="6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6" y="81"/>
                  </a:lnTo>
                  <a:lnTo>
                    <a:pt x="219" y="116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4"/>
                  </a:lnTo>
                  <a:lnTo>
                    <a:pt x="101" y="216"/>
                  </a:lnTo>
                  <a:lnTo>
                    <a:pt x="66" y="211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6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0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7" name="Freeform 55">
              <a:extLst>
                <a:ext uri="{FF2B5EF4-FFF2-40B4-BE49-F238E27FC236}">
                  <a16:creationId xmlns:a16="http://schemas.microsoft.com/office/drawing/2014/main" id="{AB0FE622-F5A4-43B1-845E-62EFE3CD9BA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700275" y="2041073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50 w 216"/>
                <a:gd name="T3" fmla="*/ 8 h 219"/>
                <a:gd name="T4" fmla="*/ 179 w 216"/>
                <a:gd name="T5" fmla="*/ 25 h 219"/>
                <a:gd name="T6" fmla="*/ 202 w 216"/>
                <a:gd name="T7" fmla="*/ 51 h 219"/>
                <a:gd name="T8" fmla="*/ 213 w 216"/>
                <a:gd name="T9" fmla="*/ 83 h 219"/>
                <a:gd name="T10" fmla="*/ 216 w 216"/>
                <a:gd name="T11" fmla="*/ 115 h 219"/>
                <a:gd name="T12" fmla="*/ 210 w 216"/>
                <a:gd name="T13" fmla="*/ 149 h 219"/>
                <a:gd name="T14" fmla="*/ 190 w 216"/>
                <a:gd name="T15" fmla="*/ 181 h 219"/>
                <a:gd name="T16" fmla="*/ 164 w 216"/>
                <a:gd name="T17" fmla="*/ 201 h 219"/>
                <a:gd name="T18" fmla="*/ 135 w 216"/>
                <a:gd name="T19" fmla="*/ 216 h 219"/>
                <a:gd name="T20" fmla="*/ 101 w 216"/>
                <a:gd name="T21" fmla="*/ 219 h 219"/>
                <a:gd name="T22" fmla="*/ 66 w 216"/>
                <a:gd name="T23" fmla="*/ 210 h 219"/>
                <a:gd name="T24" fmla="*/ 37 w 216"/>
                <a:gd name="T25" fmla="*/ 193 h 219"/>
                <a:gd name="T26" fmla="*/ 14 w 216"/>
                <a:gd name="T27" fmla="*/ 167 h 219"/>
                <a:gd name="T28" fmla="*/ 3 w 216"/>
                <a:gd name="T29" fmla="*/ 135 h 219"/>
                <a:gd name="T30" fmla="*/ 0 w 216"/>
                <a:gd name="T31" fmla="*/ 103 h 219"/>
                <a:gd name="T32" fmla="*/ 6 w 216"/>
                <a:gd name="T33" fmla="*/ 69 h 219"/>
                <a:gd name="T34" fmla="*/ 26 w 216"/>
                <a:gd name="T35" fmla="*/ 37 h 219"/>
                <a:gd name="T36" fmla="*/ 52 w 216"/>
                <a:gd name="T37" fmla="*/ 17 h 219"/>
                <a:gd name="T38" fmla="*/ 81 w 216"/>
                <a:gd name="T39" fmla="*/ 2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50" y="8"/>
                  </a:lnTo>
                  <a:lnTo>
                    <a:pt x="179" y="25"/>
                  </a:lnTo>
                  <a:lnTo>
                    <a:pt x="202" y="51"/>
                  </a:lnTo>
                  <a:lnTo>
                    <a:pt x="213" y="83"/>
                  </a:lnTo>
                  <a:lnTo>
                    <a:pt x="216" y="115"/>
                  </a:lnTo>
                  <a:lnTo>
                    <a:pt x="210" y="149"/>
                  </a:lnTo>
                  <a:lnTo>
                    <a:pt x="190" y="181"/>
                  </a:lnTo>
                  <a:lnTo>
                    <a:pt x="164" y="201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6" y="210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3" y="135"/>
                  </a:lnTo>
                  <a:lnTo>
                    <a:pt x="0" y="103"/>
                  </a:lnTo>
                  <a:lnTo>
                    <a:pt x="6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1" y="2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8" name="Freeform 56">
              <a:extLst>
                <a:ext uri="{FF2B5EF4-FFF2-40B4-BE49-F238E27FC236}">
                  <a16:creationId xmlns:a16="http://schemas.microsoft.com/office/drawing/2014/main" id="{F2B95DE6-BCE8-49D2-A7F2-02500BD8E560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924291" y="2034673"/>
              <a:ext cx="172813" cy="172813"/>
            </a:xfrm>
            <a:custGeom>
              <a:avLst/>
              <a:gdLst>
                <a:gd name="T0" fmla="*/ 115 w 216"/>
                <a:gd name="T1" fmla="*/ 0 h 216"/>
                <a:gd name="T2" fmla="*/ 150 w 216"/>
                <a:gd name="T3" fmla="*/ 6 h 216"/>
                <a:gd name="T4" fmla="*/ 179 w 216"/>
                <a:gd name="T5" fmla="*/ 23 h 216"/>
                <a:gd name="T6" fmla="*/ 202 w 216"/>
                <a:gd name="T7" fmla="*/ 49 h 216"/>
                <a:gd name="T8" fmla="*/ 213 w 216"/>
                <a:gd name="T9" fmla="*/ 81 h 216"/>
                <a:gd name="T10" fmla="*/ 216 w 216"/>
                <a:gd name="T11" fmla="*/ 115 h 216"/>
                <a:gd name="T12" fmla="*/ 211 w 216"/>
                <a:gd name="T13" fmla="*/ 150 h 216"/>
                <a:gd name="T14" fmla="*/ 190 w 216"/>
                <a:gd name="T15" fmla="*/ 179 h 216"/>
                <a:gd name="T16" fmla="*/ 164 w 216"/>
                <a:gd name="T17" fmla="*/ 202 h 216"/>
                <a:gd name="T18" fmla="*/ 136 w 216"/>
                <a:gd name="T19" fmla="*/ 213 h 216"/>
                <a:gd name="T20" fmla="*/ 101 w 216"/>
                <a:gd name="T21" fmla="*/ 216 h 216"/>
                <a:gd name="T22" fmla="*/ 66 w 216"/>
                <a:gd name="T23" fmla="*/ 208 h 216"/>
                <a:gd name="T24" fmla="*/ 38 w 216"/>
                <a:gd name="T25" fmla="*/ 190 h 216"/>
                <a:gd name="T26" fmla="*/ 15 w 216"/>
                <a:gd name="T27" fmla="*/ 164 h 216"/>
                <a:gd name="T28" fmla="*/ 3 w 216"/>
                <a:gd name="T29" fmla="*/ 136 h 216"/>
                <a:gd name="T30" fmla="*/ 0 w 216"/>
                <a:gd name="T31" fmla="*/ 101 h 216"/>
                <a:gd name="T32" fmla="*/ 6 w 216"/>
                <a:gd name="T33" fmla="*/ 66 h 216"/>
                <a:gd name="T34" fmla="*/ 26 w 216"/>
                <a:gd name="T35" fmla="*/ 38 h 216"/>
                <a:gd name="T36" fmla="*/ 52 w 216"/>
                <a:gd name="T37" fmla="*/ 14 h 216"/>
                <a:gd name="T38" fmla="*/ 81 w 216"/>
                <a:gd name="T39" fmla="*/ 3 h 216"/>
                <a:gd name="T40" fmla="*/ 115 w 216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6">
                  <a:moveTo>
                    <a:pt x="115" y="0"/>
                  </a:moveTo>
                  <a:lnTo>
                    <a:pt x="150" y="6"/>
                  </a:lnTo>
                  <a:lnTo>
                    <a:pt x="179" y="23"/>
                  </a:lnTo>
                  <a:lnTo>
                    <a:pt x="202" y="49"/>
                  </a:lnTo>
                  <a:lnTo>
                    <a:pt x="213" y="81"/>
                  </a:lnTo>
                  <a:lnTo>
                    <a:pt x="216" y="115"/>
                  </a:lnTo>
                  <a:lnTo>
                    <a:pt x="211" y="150"/>
                  </a:lnTo>
                  <a:lnTo>
                    <a:pt x="190" y="179"/>
                  </a:lnTo>
                  <a:lnTo>
                    <a:pt x="164" y="202"/>
                  </a:lnTo>
                  <a:lnTo>
                    <a:pt x="136" y="213"/>
                  </a:lnTo>
                  <a:lnTo>
                    <a:pt x="101" y="216"/>
                  </a:lnTo>
                  <a:lnTo>
                    <a:pt x="66" y="208"/>
                  </a:lnTo>
                  <a:lnTo>
                    <a:pt x="38" y="190"/>
                  </a:lnTo>
                  <a:lnTo>
                    <a:pt x="15" y="164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6" y="66"/>
                  </a:lnTo>
                  <a:lnTo>
                    <a:pt x="26" y="38"/>
                  </a:lnTo>
                  <a:lnTo>
                    <a:pt x="52" y="14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9" name="Freeform 57">
              <a:extLst>
                <a:ext uri="{FF2B5EF4-FFF2-40B4-BE49-F238E27FC236}">
                  <a16:creationId xmlns:a16="http://schemas.microsoft.com/office/drawing/2014/main" id="{7EBBA3AF-AB1F-4FB6-B833-6AB9BD1808C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995496" y="4160427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0 w 219"/>
                <a:gd name="T3" fmla="*/ 9 h 219"/>
                <a:gd name="T4" fmla="*/ 182 w 219"/>
                <a:gd name="T5" fmla="*/ 26 h 219"/>
                <a:gd name="T6" fmla="*/ 205 w 219"/>
                <a:gd name="T7" fmla="*/ 52 h 219"/>
                <a:gd name="T8" fmla="*/ 216 w 219"/>
                <a:gd name="T9" fmla="*/ 83 h 219"/>
                <a:gd name="T10" fmla="*/ 219 w 219"/>
                <a:gd name="T11" fmla="*/ 115 h 219"/>
                <a:gd name="T12" fmla="*/ 210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8 w 219"/>
                <a:gd name="T19" fmla="*/ 216 h 219"/>
                <a:gd name="T20" fmla="*/ 104 w 219"/>
                <a:gd name="T21" fmla="*/ 219 h 219"/>
                <a:gd name="T22" fmla="*/ 69 w 219"/>
                <a:gd name="T23" fmla="*/ 210 h 219"/>
                <a:gd name="T24" fmla="*/ 40 w 219"/>
                <a:gd name="T25" fmla="*/ 193 h 219"/>
                <a:gd name="T26" fmla="*/ 17 w 219"/>
                <a:gd name="T27" fmla="*/ 167 h 219"/>
                <a:gd name="T28" fmla="*/ 3 w 219"/>
                <a:gd name="T29" fmla="*/ 135 h 219"/>
                <a:gd name="T30" fmla="*/ 0 w 219"/>
                <a:gd name="T31" fmla="*/ 101 h 219"/>
                <a:gd name="T32" fmla="*/ 9 w 219"/>
                <a:gd name="T33" fmla="*/ 69 h 219"/>
                <a:gd name="T34" fmla="*/ 26 w 219"/>
                <a:gd name="T35" fmla="*/ 37 h 219"/>
                <a:gd name="T36" fmla="*/ 52 w 219"/>
                <a:gd name="T37" fmla="*/ 17 h 219"/>
                <a:gd name="T38" fmla="*/ 84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0" y="9"/>
                  </a:lnTo>
                  <a:lnTo>
                    <a:pt x="182" y="26"/>
                  </a:lnTo>
                  <a:lnTo>
                    <a:pt x="205" y="52"/>
                  </a:lnTo>
                  <a:lnTo>
                    <a:pt x="216" y="83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8" y="216"/>
                  </a:lnTo>
                  <a:lnTo>
                    <a:pt x="104" y="219"/>
                  </a:lnTo>
                  <a:lnTo>
                    <a:pt x="69" y="210"/>
                  </a:lnTo>
                  <a:lnTo>
                    <a:pt x="40" y="193"/>
                  </a:lnTo>
                  <a:lnTo>
                    <a:pt x="17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9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4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0" name="Freeform 58">
              <a:extLst>
                <a:ext uri="{FF2B5EF4-FFF2-40B4-BE49-F238E27FC236}">
                  <a16:creationId xmlns:a16="http://schemas.microsoft.com/office/drawing/2014/main" id="{3EFE86E3-2013-4C1F-8558-E1B646712CF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771480" y="4170028"/>
              <a:ext cx="175213" cy="172813"/>
            </a:xfrm>
            <a:custGeom>
              <a:avLst/>
              <a:gdLst>
                <a:gd name="T0" fmla="*/ 118 w 219"/>
                <a:gd name="T1" fmla="*/ 0 h 216"/>
                <a:gd name="T2" fmla="*/ 149 w 219"/>
                <a:gd name="T3" fmla="*/ 6 h 216"/>
                <a:gd name="T4" fmla="*/ 181 w 219"/>
                <a:gd name="T5" fmla="*/ 26 h 216"/>
                <a:gd name="T6" fmla="*/ 204 w 219"/>
                <a:gd name="T7" fmla="*/ 52 h 216"/>
                <a:gd name="T8" fmla="*/ 216 w 219"/>
                <a:gd name="T9" fmla="*/ 81 h 216"/>
                <a:gd name="T10" fmla="*/ 219 w 219"/>
                <a:gd name="T11" fmla="*/ 116 h 216"/>
                <a:gd name="T12" fmla="*/ 210 w 219"/>
                <a:gd name="T13" fmla="*/ 150 h 216"/>
                <a:gd name="T14" fmla="*/ 193 w 219"/>
                <a:gd name="T15" fmla="*/ 179 h 216"/>
                <a:gd name="T16" fmla="*/ 167 w 219"/>
                <a:gd name="T17" fmla="*/ 202 h 216"/>
                <a:gd name="T18" fmla="*/ 135 w 219"/>
                <a:gd name="T19" fmla="*/ 214 h 216"/>
                <a:gd name="T20" fmla="*/ 103 w 219"/>
                <a:gd name="T21" fmla="*/ 216 h 216"/>
                <a:gd name="T22" fmla="*/ 69 w 219"/>
                <a:gd name="T23" fmla="*/ 211 h 216"/>
                <a:gd name="T24" fmla="*/ 40 w 219"/>
                <a:gd name="T25" fmla="*/ 190 h 216"/>
                <a:gd name="T26" fmla="*/ 17 w 219"/>
                <a:gd name="T27" fmla="*/ 165 h 216"/>
                <a:gd name="T28" fmla="*/ 2 w 219"/>
                <a:gd name="T29" fmla="*/ 136 h 216"/>
                <a:gd name="T30" fmla="*/ 0 w 219"/>
                <a:gd name="T31" fmla="*/ 101 h 216"/>
                <a:gd name="T32" fmla="*/ 8 w 219"/>
                <a:gd name="T33" fmla="*/ 67 h 216"/>
                <a:gd name="T34" fmla="*/ 28 w 219"/>
                <a:gd name="T35" fmla="*/ 38 h 216"/>
                <a:gd name="T36" fmla="*/ 51 w 219"/>
                <a:gd name="T37" fmla="*/ 15 h 216"/>
                <a:gd name="T38" fmla="*/ 83 w 219"/>
                <a:gd name="T39" fmla="*/ 3 h 216"/>
                <a:gd name="T40" fmla="*/ 118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8" y="0"/>
                  </a:moveTo>
                  <a:lnTo>
                    <a:pt x="149" y="6"/>
                  </a:lnTo>
                  <a:lnTo>
                    <a:pt x="181" y="26"/>
                  </a:lnTo>
                  <a:lnTo>
                    <a:pt x="204" y="52"/>
                  </a:lnTo>
                  <a:lnTo>
                    <a:pt x="216" y="81"/>
                  </a:lnTo>
                  <a:lnTo>
                    <a:pt x="219" y="116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4"/>
                  </a:lnTo>
                  <a:lnTo>
                    <a:pt x="103" y="216"/>
                  </a:lnTo>
                  <a:lnTo>
                    <a:pt x="69" y="211"/>
                  </a:lnTo>
                  <a:lnTo>
                    <a:pt x="40" y="190"/>
                  </a:lnTo>
                  <a:lnTo>
                    <a:pt x="17" y="165"/>
                  </a:lnTo>
                  <a:lnTo>
                    <a:pt x="2" y="136"/>
                  </a:lnTo>
                  <a:lnTo>
                    <a:pt x="0" y="101"/>
                  </a:lnTo>
                  <a:lnTo>
                    <a:pt x="8" y="67"/>
                  </a:lnTo>
                  <a:lnTo>
                    <a:pt x="28" y="38"/>
                  </a:lnTo>
                  <a:lnTo>
                    <a:pt x="51" y="15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1" name="Freeform 59">
              <a:extLst>
                <a:ext uri="{FF2B5EF4-FFF2-40B4-BE49-F238E27FC236}">
                  <a16:creationId xmlns:a16="http://schemas.microsoft.com/office/drawing/2014/main" id="{2DF0FCA3-56BC-4138-9031-2D5EBAF0F27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550664" y="4130826"/>
              <a:ext cx="175213" cy="172813"/>
            </a:xfrm>
            <a:custGeom>
              <a:avLst/>
              <a:gdLst>
                <a:gd name="T0" fmla="*/ 116 w 219"/>
                <a:gd name="T1" fmla="*/ 0 h 216"/>
                <a:gd name="T2" fmla="*/ 150 w 219"/>
                <a:gd name="T3" fmla="*/ 6 h 216"/>
                <a:gd name="T4" fmla="*/ 179 w 219"/>
                <a:gd name="T5" fmla="*/ 26 h 216"/>
                <a:gd name="T6" fmla="*/ 202 w 219"/>
                <a:gd name="T7" fmla="*/ 49 h 216"/>
                <a:gd name="T8" fmla="*/ 217 w 219"/>
                <a:gd name="T9" fmla="*/ 81 h 216"/>
                <a:gd name="T10" fmla="*/ 219 w 219"/>
                <a:gd name="T11" fmla="*/ 116 h 216"/>
                <a:gd name="T12" fmla="*/ 211 w 219"/>
                <a:gd name="T13" fmla="*/ 150 h 216"/>
                <a:gd name="T14" fmla="*/ 193 w 219"/>
                <a:gd name="T15" fmla="*/ 179 h 216"/>
                <a:gd name="T16" fmla="*/ 167 w 219"/>
                <a:gd name="T17" fmla="*/ 202 h 216"/>
                <a:gd name="T18" fmla="*/ 136 w 219"/>
                <a:gd name="T19" fmla="*/ 214 h 216"/>
                <a:gd name="T20" fmla="*/ 101 w 219"/>
                <a:gd name="T21" fmla="*/ 216 h 216"/>
                <a:gd name="T22" fmla="*/ 69 w 219"/>
                <a:gd name="T23" fmla="*/ 211 h 216"/>
                <a:gd name="T24" fmla="*/ 38 w 219"/>
                <a:gd name="T25" fmla="*/ 190 h 216"/>
                <a:gd name="T26" fmla="*/ 18 w 219"/>
                <a:gd name="T27" fmla="*/ 165 h 216"/>
                <a:gd name="T28" fmla="*/ 3 w 219"/>
                <a:gd name="T29" fmla="*/ 136 h 216"/>
                <a:gd name="T30" fmla="*/ 0 w 219"/>
                <a:gd name="T31" fmla="*/ 101 h 216"/>
                <a:gd name="T32" fmla="*/ 9 w 219"/>
                <a:gd name="T33" fmla="*/ 67 h 216"/>
                <a:gd name="T34" fmla="*/ 26 w 219"/>
                <a:gd name="T35" fmla="*/ 38 h 216"/>
                <a:gd name="T36" fmla="*/ 52 w 219"/>
                <a:gd name="T37" fmla="*/ 15 h 216"/>
                <a:gd name="T38" fmla="*/ 84 w 219"/>
                <a:gd name="T39" fmla="*/ 3 h 216"/>
                <a:gd name="T40" fmla="*/ 116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6" y="0"/>
                  </a:moveTo>
                  <a:lnTo>
                    <a:pt x="150" y="6"/>
                  </a:lnTo>
                  <a:lnTo>
                    <a:pt x="179" y="26"/>
                  </a:lnTo>
                  <a:lnTo>
                    <a:pt x="202" y="49"/>
                  </a:lnTo>
                  <a:lnTo>
                    <a:pt x="217" y="81"/>
                  </a:lnTo>
                  <a:lnTo>
                    <a:pt x="219" y="116"/>
                  </a:lnTo>
                  <a:lnTo>
                    <a:pt x="211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6" y="214"/>
                  </a:lnTo>
                  <a:lnTo>
                    <a:pt x="101" y="216"/>
                  </a:lnTo>
                  <a:lnTo>
                    <a:pt x="69" y="211"/>
                  </a:lnTo>
                  <a:lnTo>
                    <a:pt x="38" y="190"/>
                  </a:lnTo>
                  <a:lnTo>
                    <a:pt x="18" y="165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9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4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2" name="Freeform 60">
              <a:extLst>
                <a:ext uri="{FF2B5EF4-FFF2-40B4-BE49-F238E27FC236}">
                  <a16:creationId xmlns:a16="http://schemas.microsoft.com/office/drawing/2014/main" id="{CF5FA7CA-078A-4450-99B2-A6FAD9772F2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342649" y="4045219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78 w 219"/>
                <a:gd name="T5" fmla="*/ 26 h 219"/>
                <a:gd name="T6" fmla="*/ 202 w 219"/>
                <a:gd name="T7" fmla="*/ 52 h 219"/>
                <a:gd name="T8" fmla="*/ 216 w 219"/>
                <a:gd name="T9" fmla="*/ 84 h 219"/>
                <a:gd name="T10" fmla="*/ 219 w 219"/>
                <a:gd name="T11" fmla="*/ 115 h 219"/>
                <a:gd name="T12" fmla="*/ 210 w 219"/>
                <a:gd name="T13" fmla="*/ 150 h 219"/>
                <a:gd name="T14" fmla="*/ 193 w 219"/>
                <a:gd name="T15" fmla="*/ 182 h 219"/>
                <a:gd name="T16" fmla="*/ 167 w 219"/>
                <a:gd name="T17" fmla="*/ 202 h 219"/>
                <a:gd name="T18" fmla="*/ 135 w 219"/>
                <a:gd name="T19" fmla="*/ 216 h 219"/>
                <a:gd name="T20" fmla="*/ 101 w 219"/>
                <a:gd name="T21" fmla="*/ 219 h 219"/>
                <a:gd name="T22" fmla="*/ 66 w 219"/>
                <a:gd name="T23" fmla="*/ 210 h 219"/>
                <a:gd name="T24" fmla="*/ 37 w 219"/>
                <a:gd name="T25" fmla="*/ 193 h 219"/>
                <a:gd name="T26" fmla="*/ 14 w 219"/>
                <a:gd name="T27" fmla="*/ 167 h 219"/>
                <a:gd name="T28" fmla="*/ 3 w 219"/>
                <a:gd name="T29" fmla="*/ 135 h 219"/>
                <a:gd name="T30" fmla="*/ 0 w 219"/>
                <a:gd name="T31" fmla="*/ 101 h 219"/>
                <a:gd name="T32" fmla="*/ 6 w 219"/>
                <a:gd name="T33" fmla="*/ 69 h 219"/>
                <a:gd name="T34" fmla="*/ 26 w 219"/>
                <a:gd name="T35" fmla="*/ 37 h 219"/>
                <a:gd name="T36" fmla="*/ 52 w 219"/>
                <a:gd name="T37" fmla="*/ 17 h 219"/>
                <a:gd name="T38" fmla="*/ 80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78" y="26"/>
                  </a:lnTo>
                  <a:lnTo>
                    <a:pt x="202" y="52"/>
                  </a:lnTo>
                  <a:lnTo>
                    <a:pt x="216" y="84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6" y="210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6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0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3" name="Freeform 61">
              <a:extLst>
                <a:ext uri="{FF2B5EF4-FFF2-40B4-BE49-F238E27FC236}">
                  <a16:creationId xmlns:a16="http://schemas.microsoft.com/office/drawing/2014/main" id="{9657FDE9-EB77-49BF-A0B8-66DDFFA045C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158635" y="3920410"/>
              <a:ext cx="175213" cy="175213"/>
            </a:xfrm>
            <a:custGeom>
              <a:avLst/>
              <a:gdLst>
                <a:gd name="T0" fmla="*/ 116 w 219"/>
                <a:gd name="T1" fmla="*/ 0 h 219"/>
                <a:gd name="T2" fmla="*/ 150 w 219"/>
                <a:gd name="T3" fmla="*/ 8 h 219"/>
                <a:gd name="T4" fmla="*/ 182 w 219"/>
                <a:gd name="T5" fmla="*/ 26 h 219"/>
                <a:gd name="T6" fmla="*/ 202 w 219"/>
                <a:gd name="T7" fmla="*/ 51 h 219"/>
                <a:gd name="T8" fmla="*/ 217 w 219"/>
                <a:gd name="T9" fmla="*/ 83 h 219"/>
                <a:gd name="T10" fmla="*/ 219 w 219"/>
                <a:gd name="T11" fmla="*/ 118 h 219"/>
                <a:gd name="T12" fmla="*/ 211 w 219"/>
                <a:gd name="T13" fmla="*/ 149 h 219"/>
                <a:gd name="T14" fmla="*/ 194 w 219"/>
                <a:gd name="T15" fmla="*/ 181 h 219"/>
                <a:gd name="T16" fmla="*/ 168 w 219"/>
                <a:gd name="T17" fmla="*/ 201 h 219"/>
                <a:gd name="T18" fmla="*/ 136 w 219"/>
                <a:gd name="T19" fmla="*/ 216 h 219"/>
                <a:gd name="T20" fmla="*/ 104 w 219"/>
                <a:gd name="T21" fmla="*/ 219 h 219"/>
                <a:gd name="T22" fmla="*/ 70 w 219"/>
                <a:gd name="T23" fmla="*/ 210 h 219"/>
                <a:gd name="T24" fmla="*/ 38 w 219"/>
                <a:gd name="T25" fmla="*/ 193 h 219"/>
                <a:gd name="T26" fmla="*/ 18 w 219"/>
                <a:gd name="T27" fmla="*/ 167 h 219"/>
                <a:gd name="T28" fmla="*/ 3 w 219"/>
                <a:gd name="T29" fmla="*/ 138 h 219"/>
                <a:gd name="T30" fmla="*/ 0 w 219"/>
                <a:gd name="T31" fmla="*/ 103 h 219"/>
                <a:gd name="T32" fmla="*/ 9 w 219"/>
                <a:gd name="T33" fmla="*/ 69 h 219"/>
                <a:gd name="T34" fmla="*/ 26 w 219"/>
                <a:gd name="T35" fmla="*/ 40 h 219"/>
                <a:gd name="T36" fmla="*/ 52 w 219"/>
                <a:gd name="T37" fmla="*/ 17 h 219"/>
                <a:gd name="T38" fmla="*/ 84 w 219"/>
                <a:gd name="T39" fmla="*/ 2 h 219"/>
                <a:gd name="T40" fmla="*/ 116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6" y="0"/>
                  </a:moveTo>
                  <a:lnTo>
                    <a:pt x="150" y="8"/>
                  </a:lnTo>
                  <a:lnTo>
                    <a:pt x="182" y="26"/>
                  </a:lnTo>
                  <a:lnTo>
                    <a:pt x="202" y="51"/>
                  </a:lnTo>
                  <a:lnTo>
                    <a:pt x="217" y="83"/>
                  </a:lnTo>
                  <a:lnTo>
                    <a:pt x="219" y="118"/>
                  </a:lnTo>
                  <a:lnTo>
                    <a:pt x="211" y="149"/>
                  </a:lnTo>
                  <a:lnTo>
                    <a:pt x="194" y="181"/>
                  </a:lnTo>
                  <a:lnTo>
                    <a:pt x="168" y="201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70" y="210"/>
                  </a:lnTo>
                  <a:lnTo>
                    <a:pt x="38" y="193"/>
                  </a:lnTo>
                  <a:lnTo>
                    <a:pt x="18" y="167"/>
                  </a:lnTo>
                  <a:lnTo>
                    <a:pt x="3" y="138"/>
                  </a:lnTo>
                  <a:lnTo>
                    <a:pt x="0" y="103"/>
                  </a:lnTo>
                  <a:lnTo>
                    <a:pt x="9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4" y="2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4" name="Freeform 62">
              <a:extLst>
                <a:ext uri="{FF2B5EF4-FFF2-40B4-BE49-F238E27FC236}">
                  <a16:creationId xmlns:a16="http://schemas.microsoft.com/office/drawing/2014/main" id="{2C7D1FE9-BE20-424C-8D8A-870C45C3194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003424" y="3759598"/>
              <a:ext cx="173613" cy="175213"/>
            </a:xfrm>
            <a:custGeom>
              <a:avLst/>
              <a:gdLst>
                <a:gd name="T0" fmla="*/ 116 w 217"/>
                <a:gd name="T1" fmla="*/ 0 h 219"/>
                <a:gd name="T2" fmla="*/ 150 w 217"/>
                <a:gd name="T3" fmla="*/ 9 h 219"/>
                <a:gd name="T4" fmla="*/ 179 w 217"/>
                <a:gd name="T5" fmla="*/ 26 h 219"/>
                <a:gd name="T6" fmla="*/ 202 w 217"/>
                <a:gd name="T7" fmla="*/ 52 h 219"/>
                <a:gd name="T8" fmla="*/ 214 w 217"/>
                <a:gd name="T9" fmla="*/ 84 h 219"/>
                <a:gd name="T10" fmla="*/ 217 w 217"/>
                <a:gd name="T11" fmla="*/ 116 h 219"/>
                <a:gd name="T12" fmla="*/ 208 w 217"/>
                <a:gd name="T13" fmla="*/ 150 h 219"/>
                <a:gd name="T14" fmla="*/ 191 w 217"/>
                <a:gd name="T15" fmla="*/ 182 h 219"/>
                <a:gd name="T16" fmla="*/ 165 w 217"/>
                <a:gd name="T17" fmla="*/ 202 h 219"/>
                <a:gd name="T18" fmla="*/ 136 w 217"/>
                <a:gd name="T19" fmla="*/ 217 h 219"/>
                <a:gd name="T20" fmla="*/ 101 w 217"/>
                <a:gd name="T21" fmla="*/ 219 h 219"/>
                <a:gd name="T22" fmla="*/ 67 w 217"/>
                <a:gd name="T23" fmla="*/ 211 h 219"/>
                <a:gd name="T24" fmla="*/ 38 w 217"/>
                <a:gd name="T25" fmla="*/ 193 h 219"/>
                <a:gd name="T26" fmla="*/ 15 w 217"/>
                <a:gd name="T27" fmla="*/ 168 h 219"/>
                <a:gd name="T28" fmla="*/ 3 w 217"/>
                <a:gd name="T29" fmla="*/ 136 h 219"/>
                <a:gd name="T30" fmla="*/ 0 w 217"/>
                <a:gd name="T31" fmla="*/ 104 h 219"/>
                <a:gd name="T32" fmla="*/ 6 w 217"/>
                <a:gd name="T33" fmla="*/ 70 h 219"/>
                <a:gd name="T34" fmla="*/ 26 w 217"/>
                <a:gd name="T35" fmla="*/ 38 h 219"/>
                <a:gd name="T36" fmla="*/ 52 w 217"/>
                <a:gd name="T37" fmla="*/ 18 h 219"/>
                <a:gd name="T38" fmla="*/ 81 w 217"/>
                <a:gd name="T39" fmla="*/ 3 h 219"/>
                <a:gd name="T40" fmla="*/ 116 w 217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7" h="219">
                  <a:moveTo>
                    <a:pt x="116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4" y="84"/>
                  </a:lnTo>
                  <a:lnTo>
                    <a:pt x="217" y="116"/>
                  </a:lnTo>
                  <a:lnTo>
                    <a:pt x="208" y="150"/>
                  </a:lnTo>
                  <a:lnTo>
                    <a:pt x="191" y="182"/>
                  </a:lnTo>
                  <a:lnTo>
                    <a:pt x="165" y="202"/>
                  </a:lnTo>
                  <a:lnTo>
                    <a:pt x="136" y="217"/>
                  </a:lnTo>
                  <a:lnTo>
                    <a:pt x="101" y="219"/>
                  </a:lnTo>
                  <a:lnTo>
                    <a:pt x="67" y="211"/>
                  </a:lnTo>
                  <a:lnTo>
                    <a:pt x="38" y="193"/>
                  </a:lnTo>
                  <a:lnTo>
                    <a:pt x="15" y="168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6" y="70"/>
                  </a:lnTo>
                  <a:lnTo>
                    <a:pt x="26" y="38"/>
                  </a:lnTo>
                  <a:lnTo>
                    <a:pt x="52" y="18"/>
                  </a:lnTo>
                  <a:lnTo>
                    <a:pt x="81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5" name="Freeform 63">
              <a:extLst>
                <a:ext uri="{FF2B5EF4-FFF2-40B4-BE49-F238E27FC236}">
                  <a16:creationId xmlns:a16="http://schemas.microsoft.com/office/drawing/2014/main" id="{9EF152FC-2E7E-4AA6-801C-41DE75CEB98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883415" y="3569984"/>
              <a:ext cx="176013" cy="172813"/>
            </a:xfrm>
            <a:custGeom>
              <a:avLst/>
              <a:gdLst>
                <a:gd name="T0" fmla="*/ 116 w 220"/>
                <a:gd name="T1" fmla="*/ 0 h 216"/>
                <a:gd name="T2" fmla="*/ 150 w 220"/>
                <a:gd name="T3" fmla="*/ 5 h 216"/>
                <a:gd name="T4" fmla="*/ 179 w 220"/>
                <a:gd name="T5" fmla="*/ 26 h 216"/>
                <a:gd name="T6" fmla="*/ 202 w 220"/>
                <a:gd name="T7" fmla="*/ 49 h 216"/>
                <a:gd name="T8" fmla="*/ 214 w 220"/>
                <a:gd name="T9" fmla="*/ 80 h 216"/>
                <a:gd name="T10" fmla="*/ 220 w 220"/>
                <a:gd name="T11" fmla="*/ 115 h 216"/>
                <a:gd name="T12" fmla="*/ 211 w 220"/>
                <a:gd name="T13" fmla="*/ 149 h 216"/>
                <a:gd name="T14" fmla="*/ 194 w 220"/>
                <a:gd name="T15" fmla="*/ 178 h 216"/>
                <a:gd name="T16" fmla="*/ 168 w 220"/>
                <a:gd name="T17" fmla="*/ 201 h 216"/>
                <a:gd name="T18" fmla="*/ 136 w 220"/>
                <a:gd name="T19" fmla="*/ 213 h 216"/>
                <a:gd name="T20" fmla="*/ 101 w 220"/>
                <a:gd name="T21" fmla="*/ 216 h 216"/>
                <a:gd name="T22" fmla="*/ 67 w 220"/>
                <a:gd name="T23" fmla="*/ 210 h 216"/>
                <a:gd name="T24" fmla="*/ 38 w 220"/>
                <a:gd name="T25" fmla="*/ 190 h 216"/>
                <a:gd name="T26" fmla="*/ 15 w 220"/>
                <a:gd name="T27" fmla="*/ 164 h 216"/>
                <a:gd name="T28" fmla="*/ 3 w 220"/>
                <a:gd name="T29" fmla="*/ 135 h 216"/>
                <a:gd name="T30" fmla="*/ 0 w 220"/>
                <a:gd name="T31" fmla="*/ 100 h 216"/>
                <a:gd name="T32" fmla="*/ 9 w 220"/>
                <a:gd name="T33" fmla="*/ 66 h 216"/>
                <a:gd name="T34" fmla="*/ 26 w 220"/>
                <a:gd name="T35" fmla="*/ 37 h 216"/>
                <a:gd name="T36" fmla="*/ 52 w 220"/>
                <a:gd name="T37" fmla="*/ 14 h 216"/>
                <a:gd name="T38" fmla="*/ 81 w 220"/>
                <a:gd name="T39" fmla="*/ 2 h 216"/>
                <a:gd name="T40" fmla="*/ 116 w 220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0" h="216">
                  <a:moveTo>
                    <a:pt x="116" y="0"/>
                  </a:moveTo>
                  <a:lnTo>
                    <a:pt x="150" y="5"/>
                  </a:lnTo>
                  <a:lnTo>
                    <a:pt x="179" y="26"/>
                  </a:lnTo>
                  <a:lnTo>
                    <a:pt x="202" y="49"/>
                  </a:lnTo>
                  <a:lnTo>
                    <a:pt x="214" y="80"/>
                  </a:lnTo>
                  <a:lnTo>
                    <a:pt x="220" y="115"/>
                  </a:lnTo>
                  <a:lnTo>
                    <a:pt x="211" y="149"/>
                  </a:lnTo>
                  <a:lnTo>
                    <a:pt x="194" y="178"/>
                  </a:lnTo>
                  <a:lnTo>
                    <a:pt x="168" y="201"/>
                  </a:lnTo>
                  <a:lnTo>
                    <a:pt x="136" y="213"/>
                  </a:lnTo>
                  <a:lnTo>
                    <a:pt x="101" y="216"/>
                  </a:lnTo>
                  <a:lnTo>
                    <a:pt x="67" y="210"/>
                  </a:lnTo>
                  <a:lnTo>
                    <a:pt x="38" y="190"/>
                  </a:lnTo>
                  <a:lnTo>
                    <a:pt x="15" y="164"/>
                  </a:lnTo>
                  <a:lnTo>
                    <a:pt x="3" y="135"/>
                  </a:lnTo>
                  <a:lnTo>
                    <a:pt x="0" y="100"/>
                  </a:lnTo>
                  <a:lnTo>
                    <a:pt x="9" y="66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1" y="2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6" name="Freeform 64">
              <a:extLst>
                <a:ext uri="{FF2B5EF4-FFF2-40B4-BE49-F238E27FC236}">
                  <a16:creationId xmlns:a16="http://schemas.microsoft.com/office/drawing/2014/main" id="{C290AD0A-8CC4-4C58-960C-4D36A68C1820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807409" y="3357969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49 w 219"/>
                <a:gd name="T3" fmla="*/ 6 h 219"/>
                <a:gd name="T4" fmla="*/ 178 w 219"/>
                <a:gd name="T5" fmla="*/ 26 h 219"/>
                <a:gd name="T6" fmla="*/ 201 w 219"/>
                <a:gd name="T7" fmla="*/ 52 h 219"/>
                <a:gd name="T8" fmla="*/ 216 w 219"/>
                <a:gd name="T9" fmla="*/ 81 h 219"/>
                <a:gd name="T10" fmla="*/ 219 w 219"/>
                <a:gd name="T11" fmla="*/ 115 h 219"/>
                <a:gd name="T12" fmla="*/ 210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5 w 219"/>
                <a:gd name="T19" fmla="*/ 213 h 219"/>
                <a:gd name="T20" fmla="*/ 100 w 219"/>
                <a:gd name="T21" fmla="*/ 219 h 219"/>
                <a:gd name="T22" fmla="*/ 69 w 219"/>
                <a:gd name="T23" fmla="*/ 210 h 219"/>
                <a:gd name="T24" fmla="*/ 37 w 219"/>
                <a:gd name="T25" fmla="*/ 193 h 219"/>
                <a:gd name="T26" fmla="*/ 14 w 219"/>
                <a:gd name="T27" fmla="*/ 167 h 219"/>
                <a:gd name="T28" fmla="*/ 2 w 219"/>
                <a:gd name="T29" fmla="*/ 135 h 219"/>
                <a:gd name="T30" fmla="*/ 0 w 219"/>
                <a:gd name="T31" fmla="*/ 101 h 219"/>
                <a:gd name="T32" fmla="*/ 8 w 219"/>
                <a:gd name="T33" fmla="*/ 66 h 219"/>
                <a:gd name="T34" fmla="*/ 26 w 219"/>
                <a:gd name="T35" fmla="*/ 37 h 219"/>
                <a:gd name="T36" fmla="*/ 51 w 219"/>
                <a:gd name="T37" fmla="*/ 14 h 219"/>
                <a:gd name="T38" fmla="*/ 83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49" y="6"/>
                  </a:lnTo>
                  <a:lnTo>
                    <a:pt x="178" y="26"/>
                  </a:lnTo>
                  <a:lnTo>
                    <a:pt x="201" y="52"/>
                  </a:lnTo>
                  <a:lnTo>
                    <a:pt x="216" y="81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3"/>
                  </a:lnTo>
                  <a:lnTo>
                    <a:pt x="100" y="219"/>
                  </a:lnTo>
                  <a:lnTo>
                    <a:pt x="69" y="210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2" y="135"/>
                  </a:lnTo>
                  <a:lnTo>
                    <a:pt x="0" y="101"/>
                  </a:lnTo>
                  <a:lnTo>
                    <a:pt x="8" y="66"/>
                  </a:lnTo>
                  <a:lnTo>
                    <a:pt x="26" y="37"/>
                  </a:lnTo>
                  <a:lnTo>
                    <a:pt x="51" y="14"/>
                  </a:lnTo>
                  <a:lnTo>
                    <a:pt x="83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7" name="Freeform 65">
              <a:extLst>
                <a:ext uri="{FF2B5EF4-FFF2-40B4-BE49-F238E27FC236}">
                  <a16:creationId xmlns:a16="http://schemas.microsoft.com/office/drawing/2014/main" id="{07750A34-46EF-440D-9A02-73D3018BEDC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777808" y="3136353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0 w 219"/>
                <a:gd name="T3" fmla="*/ 8 h 219"/>
                <a:gd name="T4" fmla="*/ 182 w 219"/>
                <a:gd name="T5" fmla="*/ 25 h 219"/>
                <a:gd name="T6" fmla="*/ 205 w 219"/>
                <a:gd name="T7" fmla="*/ 51 h 219"/>
                <a:gd name="T8" fmla="*/ 216 w 219"/>
                <a:gd name="T9" fmla="*/ 80 h 219"/>
                <a:gd name="T10" fmla="*/ 219 w 219"/>
                <a:gd name="T11" fmla="*/ 115 h 219"/>
                <a:gd name="T12" fmla="*/ 210 w 219"/>
                <a:gd name="T13" fmla="*/ 149 h 219"/>
                <a:gd name="T14" fmla="*/ 193 w 219"/>
                <a:gd name="T15" fmla="*/ 178 h 219"/>
                <a:gd name="T16" fmla="*/ 167 w 219"/>
                <a:gd name="T17" fmla="*/ 201 h 219"/>
                <a:gd name="T18" fmla="*/ 136 w 219"/>
                <a:gd name="T19" fmla="*/ 213 h 219"/>
                <a:gd name="T20" fmla="*/ 104 w 219"/>
                <a:gd name="T21" fmla="*/ 219 h 219"/>
                <a:gd name="T22" fmla="*/ 69 w 219"/>
                <a:gd name="T23" fmla="*/ 210 h 219"/>
                <a:gd name="T24" fmla="*/ 40 w 219"/>
                <a:gd name="T25" fmla="*/ 193 h 219"/>
                <a:gd name="T26" fmla="*/ 17 w 219"/>
                <a:gd name="T27" fmla="*/ 167 h 219"/>
                <a:gd name="T28" fmla="*/ 3 w 219"/>
                <a:gd name="T29" fmla="*/ 135 h 219"/>
                <a:gd name="T30" fmla="*/ 0 w 219"/>
                <a:gd name="T31" fmla="*/ 100 h 219"/>
                <a:gd name="T32" fmla="*/ 9 w 219"/>
                <a:gd name="T33" fmla="*/ 66 h 219"/>
                <a:gd name="T34" fmla="*/ 26 w 219"/>
                <a:gd name="T35" fmla="*/ 37 h 219"/>
                <a:gd name="T36" fmla="*/ 52 w 219"/>
                <a:gd name="T37" fmla="*/ 14 h 219"/>
                <a:gd name="T38" fmla="*/ 84 w 219"/>
                <a:gd name="T39" fmla="*/ 2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0" y="8"/>
                  </a:lnTo>
                  <a:lnTo>
                    <a:pt x="182" y="25"/>
                  </a:lnTo>
                  <a:lnTo>
                    <a:pt x="205" y="51"/>
                  </a:lnTo>
                  <a:lnTo>
                    <a:pt x="216" y="80"/>
                  </a:lnTo>
                  <a:lnTo>
                    <a:pt x="219" y="115"/>
                  </a:lnTo>
                  <a:lnTo>
                    <a:pt x="210" y="149"/>
                  </a:lnTo>
                  <a:lnTo>
                    <a:pt x="193" y="178"/>
                  </a:lnTo>
                  <a:lnTo>
                    <a:pt x="167" y="201"/>
                  </a:lnTo>
                  <a:lnTo>
                    <a:pt x="136" y="213"/>
                  </a:lnTo>
                  <a:lnTo>
                    <a:pt x="104" y="219"/>
                  </a:lnTo>
                  <a:lnTo>
                    <a:pt x="69" y="210"/>
                  </a:lnTo>
                  <a:lnTo>
                    <a:pt x="40" y="193"/>
                  </a:lnTo>
                  <a:lnTo>
                    <a:pt x="17" y="167"/>
                  </a:lnTo>
                  <a:lnTo>
                    <a:pt x="3" y="135"/>
                  </a:lnTo>
                  <a:lnTo>
                    <a:pt x="0" y="100"/>
                  </a:lnTo>
                  <a:lnTo>
                    <a:pt x="9" y="66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4" y="2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8" name="Freeform 66">
              <a:extLst>
                <a:ext uri="{FF2B5EF4-FFF2-40B4-BE49-F238E27FC236}">
                  <a16:creationId xmlns:a16="http://schemas.microsoft.com/office/drawing/2014/main" id="{B7BC1106-DF44-4AF8-9CEB-45CDA5BD90C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793809" y="2915537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3 w 219"/>
                <a:gd name="T3" fmla="*/ 9 h 219"/>
                <a:gd name="T4" fmla="*/ 181 w 219"/>
                <a:gd name="T5" fmla="*/ 26 h 219"/>
                <a:gd name="T6" fmla="*/ 205 w 219"/>
                <a:gd name="T7" fmla="*/ 52 h 219"/>
                <a:gd name="T8" fmla="*/ 216 w 219"/>
                <a:gd name="T9" fmla="*/ 84 h 219"/>
                <a:gd name="T10" fmla="*/ 219 w 219"/>
                <a:gd name="T11" fmla="*/ 118 h 219"/>
                <a:gd name="T12" fmla="*/ 213 w 219"/>
                <a:gd name="T13" fmla="*/ 153 h 219"/>
                <a:gd name="T14" fmla="*/ 193 w 219"/>
                <a:gd name="T15" fmla="*/ 182 h 219"/>
                <a:gd name="T16" fmla="*/ 167 w 219"/>
                <a:gd name="T17" fmla="*/ 205 h 219"/>
                <a:gd name="T18" fmla="*/ 138 w 219"/>
                <a:gd name="T19" fmla="*/ 216 h 219"/>
                <a:gd name="T20" fmla="*/ 104 w 219"/>
                <a:gd name="T21" fmla="*/ 219 h 219"/>
                <a:gd name="T22" fmla="*/ 69 w 219"/>
                <a:gd name="T23" fmla="*/ 213 h 219"/>
                <a:gd name="T24" fmla="*/ 40 w 219"/>
                <a:gd name="T25" fmla="*/ 193 h 219"/>
                <a:gd name="T26" fmla="*/ 17 w 219"/>
                <a:gd name="T27" fmla="*/ 167 h 219"/>
                <a:gd name="T28" fmla="*/ 6 w 219"/>
                <a:gd name="T29" fmla="*/ 139 h 219"/>
                <a:gd name="T30" fmla="*/ 0 w 219"/>
                <a:gd name="T31" fmla="*/ 104 h 219"/>
                <a:gd name="T32" fmla="*/ 9 w 219"/>
                <a:gd name="T33" fmla="*/ 69 h 219"/>
                <a:gd name="T34" fmla="*/ 26 w 219"/>
                <a:gd name="T35" fmla="*/ 41 h 219"/>
                <a:gd name="T36" fmla="*/ 52 w 219"/>
                <a:gd name="T37" fmla="*/ 18 h 219"/>
                <a:gd name="T38" fmla="*/ 83 w 219"/>
                <a:gd name="T39" fmla="*/ 6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3" y="9"/>
                  </a:lnTo>
                  <a:lnTo>
                    <a:pt x="181" y="26"/>
                  </a:lnTo>
                  <a:lnTo>
                    <a:pt x="205" y="52"/>
                  </a:lnTo>
                  <a:lnTo>
                    <a:pt x="216" y="84"/>
                  </a:lnTo>
                  <a:lnTo>
                    <a:pt x="219" y="118"/>
                  </a:lnTo>
                  <a:lnTo>
                    <a:pt x="213" y="153"/>
                  </a:lnTo>
                  <a:lnTo>
                    <a:pt x="193" y="182"/>
                  </a:lnTo>
                  <a:lnTo>
                    <a:pt x="167" y="205"/>
                  </a:lnTo>
                  <a:lnTo>
                    <a:pt x="138" y="216"/>
                  </a:lnTo>
                  <a:lnTo>
                    <a:pt x="104" y="219"/>
                  </a:lnTo>
                  <a:lnTo>
                    <a:pt x="69" y="213"/>
                  </a:lnTo>
                  <a:lnTo>
                    <a:pt x="40" y="193"/>
                  </a:lnTo>
                  <a:lnTo>
                    <a:pt x="17" y="167"/>
                  </a:lnTo>
                  <a:lnTo>
                    <a:pt x="6" y="139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41"/>
                  </a:lnTo>
                  <a:lnTo>
                    <a:pt x="52" y="18"/>
                  </a:lnTo>
                  <a:lnTo>
                    <a:pt x="83" y="6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9" name="Freeform 67">
              <a:extLst>
                <a:ext uri="{FF2B5EF4-FFF2-40B4-BE49-F238E27FC236}">
                  <a16:creationId xmlns:a16="http://schemas.microsoft.com/office/drawing/2014/main" id="{4567179E-F85E-4039-8BFB-7581173B3A0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689801" y="2631516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49 w 219"/>
                <a:gd name="T3" fmla="*/ 5 h 219"/>
                <a:gd name="T4" fmla="*/ 181 w 219"/>
                <a:gd name="T5" fmla="*/ 26 h 219"/>
                <a:gd name="T6" fmla="*/ 201 w 219"/>
                <a:gd name="T7" fmla="*/ 52 h 219"/>
                <a:gd name="T8" fmla="*/ 216 w 219"/>
                <a:gd name="T9" fmla="*/ 80 h 219"/>
                <a:gd name="T10" fmla="*/ 219 w 219"/>
                <a:gd name="T11" fmla="*/ 115 h 219"/>
                <a:gd name="T12" fmla="*/ 210 w 219"/>
                <a:gd name="T13" fmla="*/ 150 h 219"/>
                <a:gd name="T14" fmla="*/ 193 w 219"/>
                <a:gd name="T15" fmla="*/ 181 h 219"/>
                <a:gd name="T16" fmla="*/ 167 w 219"/>
                <a:gd name="T17" fmla="*/ 201 h 219"/>
                <a:gd name="T18" fmla="*/ 135 w 219"/>
                <a:gd name="T19" fmla="*/ 216 h 219"/>
                <a:gd name="T20" fmla="*/ 103 w 219"/>
                <a:gd name="T21" fmla="*/ 219 h 219"/>
                <a:gd name="T22" fmla="*/ 69 w 219"/>
                <a:gd name="T23" fmla="*/ 210 h 219"/>
                <a:gd name="T24" fmla="*/ 37 w 219"/>
                <a:gd name="T25" fmla="*/ 193 h 219"/>
                <a:gd name="T26" fmla="*/ 17 w 219"/>
                <a:gd name="T27" fmla="*/ 167 h 219"/>
                <a:gd name="T28" fmla="*/ 2 w 219"/>
                <a:gd name="T29" fmla="*/ 135 h 219"/>
                <a:gd name="T30" fmla="*/ 0 w 219"/>
                <a:gd name="T31" fmla="*/ 101 h 219"/>
                <a:gd name="T32" fmla="*/ 8 w 219"/>
                <a:gd name="T33" fmla="*/ 69 h 219"/>
                <a:gd name="T34" fmla="*/ 26 w 219"/>
                <a:gd name="T35" fmla="*/ 37 h 219"/>
                <a:gd name="T36" fmla="*/ 51 w 219"/>
                <a:gd name="T37" fmla="*/ 14 h 219"/>
                <a:gd name="T38" fmla="*/ 83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49" y="5"/>
                  </a:lnTo>
                  <a:lnTo>
                    <a:pt x="181" y="26"/>
                  </a:lnTo>
                  <a:lnTo>
                    <a:pt x="201" y="52"/>
                  </a:lnTo>
                  <a:lnTo>
                    <a:pt x="216" y="80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81"/>
                  </a:lnTo>
                  <a:lnTo>
                    <a:pt x="167" y="201"/>
                  </a:lnTo>
                  <a:lnTo>
                    <a:pt x="135" y="216"/>
                  </a:lnTo>
                  <a:lnTo>
                    <a:pt x="103" y="219"/>
                  </a:lnTo>
                  <a:lnTo>
                    <a:pt x="69" y="210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2" y="135"/>
                  </a:lnTo>
                  <a:lnTo>
                    <a:pt x="0" y="101"/>
                  </a:lnTo>
                  <a:lnTo>
                    <a:pt x="8" y="69"/>
                  </a:lnTo>
                  <a:lnTo>
                    <a:pt x="26" y="37"/>
                  </a:lnTo>
                  <a:lnTo>
                    <a:pt x="51" y="14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0" name="Freeform 68">
              <a:extLst>
                <a:ext uri="{FF2B5EF4-FFF2-40B4-BE49-F238E27FC236}">
                  <a16:creationId xmlns:a16="http://schemas.microsoft.com/office/drawing/2014/main" id="{0B0C055E-B436-4FC4-84EA-4045CFE8A10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791408" y="2433101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8 h 219"/>
                <a:gd name="T4" fmla="*/ 181 w 219"/>
                <a:gd name="T5" fmla="*/ 26 h 219"/>
                <a:gd name="T6" fmla="*/ 202 w 219"/>
                <a:gd name="T7" fmla="*/ 51 h 219"/>
                <a:gd name="T8" fmla="*/ 216 w 219"/>
                <a:gd name="T9" fmla="*/ 83 h 219"/>
                <a:gd name="T10" fmla="*/ 219 w 219"/>
                <a:gd name="T11" fmla="*/ 118 h 219"/>
                <a:gd name="T12" fmla="*/ 210 w 219"/>
                <a:gd name="T13" fmla="*/ 149 h 219"/>
                <a:gd name="T14" fmla="*/ 193 w 219"/>
                <a:gd name="T15" fmla="*/ 181 h 219"/>
                <a:gd name="T16" fmla="*/ 167 w 219"/>
                <a:gd name="T17" fmla="*/ 201 h 219"/>
                <a:gd name="T18" fmla="*/ 135 w 219"/>
                <a:gd name="T19" fmla="*/ 216 h 219"/>
                <a:gd name="T20" fmla="*/ 101 w 219"/>
                <a:gd name="T21" fmla="*/ 219 h 219"/>
                <a:gd name="T22" fmla="*/ 69 w 219"/>
                <a:gd name="T23" fmla="*/ 210 h 219"/>
                <a:gd name="T24" fmla="*/ 37 w 219"/>
                <a:gd name="T25" fmla="*/ 193 h 219"/>
                <a:gd name="T26" fmla="*/ 14 w 219"/>
                <a:gd name="T27" fmla="*/ 167 h 219"/>
                <a:gd name="T28" fmla="*/ 3 w 219"/>
                <a:gd name="T29" fmla="*/ 135 h 219"/>
                <a:gd name="T30" fmla="*/ 0 w 219"/>
                <a:gd name="T31" fmla="*/ 103 h 219"/>
                <a:gd name="T32" fmla="*/ 8 w 219"/>
                <a:gd name="T33" fmla="*/ 69 h 219"/>
                <a:gd name="T34" fmla="*/ 26 w 219"/>
                <a:gd name="T35" fmla="*/ 37 h 219"/>
                <a:gd name="T36" fmla="*/ 52 w 219"/>
                <a:gd name="T37" fmla="*/ 17 h 219"/>
                <a:gd name="T38" fmla="*/ 83 w 219"/>
                <a:gd name="T39" fmla="*/ 2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8"/>
                  </a:lnTo>
                  <a:lnTo>
                    <a:pt x="181" y="26"/>
                  </a:lnTo>
                  <a:lnTo>
                    <a:pt x="202" y="51"/>
                  </a:lnTo>
                  <a:lnTo>
                    <a:pt x="216" y="83"/>
                  </a:lnTo>
                  <a:lnTo>
                    <a:pt x="219" y="118"/>
                  </a:lnTo>
                  <a:lnTo>
                    <a:pt x="210" y="149"/>
                  </a:lnTo>
                  <a:lnTo>
                    <a:pt x="193" y="181"/>
                  </a:lnTo>
                  <a:lnTo>
                    <a:pt x="167" y="201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9" y="210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3" y="135"/>
                  </a:lnTo>
                  <a:lnTo>
                    <a:pt x="0" y="103"/>
                  </a:lnTo>
                  <a:lnTo>
                    <a:pt x="8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3" y="2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1" name="Freeform 69">
              <a:extLst>
                <a:ext uri="{FF2B5EF4-FFF2-40B4-BE49-F238E27FC236}">
                  <a16:creationId xmlns:a16="http://schemas.microsoft.com/office/drawing/2014/main" id="{D809DF50-5C83-4618-828F-CCC0C5979640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927418" y="2255488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8 h 219"/>
                <a:gd name="T4" fmla="*/ 178 w 219"/>
                <a:gd name="T5" fmla="*/ 25 h 219"/>
                <a:gd name="T6" fmla="*/ 201 w 219"/>
                <a:gd name="T7" fmla="*/ 51 h 219"/>
                <a:gd name="T8" fmla="*/ 216 w 219"/>
                <a:gd name="T9" fmla="*/ 83 h 219"/>
                <a:gd name="T10" fmla="*/ 219 w 219"/>
                <a:gd name="T11" fmla="*/ 115 h 219"/>
                <a:gd name="T12" fmla="*/ 210 w 219"/>
                <a:gd name="T13" fmla="*/ 149 h 219"/>
                <a:gd name="T14" fmla="*/ 193 w 219"/>
                <a:gd name="T15" fmla="*/ 181 h 219"/>
                <a:gd name="T16" fmla="*/ 167 w 219"/>
                <a:gd name="T17" fmla="*/ 201 h 219"/>
                <a:gd name="T18" fmla="*/ 135 w 219"/>
                <a:gd name="T19" fmla="*/ 216 h 219"/>
                <a:gd name="T20" fmla="*/ 101 w 219"/>
                <a:gd name="T21" fmla="*/ 219 h 219"/>
                <a:gd name="T22" fmla="*/ 66 w 219"/>
                <a:gd name="T23" fmla="*/ 210 h 219"/>
                <a:gd name="T24" fmla="*/ 37 w 219"/>
                <a:gd name="T25" fmla="*/ 193 h 219"/>
                <a:gd name="T26" fmla="*/ 17 w 219"/>
                <a:gd name="T27" fmla="*/ 167 h 219"/>
                <a:gd name="T28" fmla="*/ 3 w 219"/>
                <a:gd name="T29" fmla="*/ 135 h 219"/>
                <a:gd name="T30" fmla="*/ 0 w 219"/>
                <a:gd name="T31" fmla="*/ 103 h 219"/>
                <a:gd name="T32" fmla="*/ 5 w 219"/>
                <a:gd name="T33" fmla="*/ 69 h 219"/>
                <a:gd name="T34" fmla="*/ 26 w 219"/>
                <a:gd name="T35" fmla="*/ 40 h 219"/>
                <a:gd name="T36" fmla="*/ 52 w 219"/>
                <a:gd name="T37" fmla="*/ 17 h 219"/>
                <a:gd name="T38" fmla="*/ 80 w 219"/>
                <a:gd name="T39" fmla="*/ 2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8"/>
                  </a:lnTo>
                  <a:lnTo>
                    <a:pt x="178" y="25"/>
                  </a:lnTo>
                  <a:lnTo>
                    <a:pt x="201" y="51"/>
                  </a:lnTo>
                  <a:lnTo>
                    <a:pt x="216" y="83"/>
                  </a:lnTo>
                  <a:lnTo>
                    <a:pt x="219" y="115"/>
                  </a:lnTo>
                  <a:lnTo>
                    <a:pt x="210" y="149"/>
                  </a:lnTo>
                  <a:lnTo>
                    <a:pt x="193" y="181"/>
                  </a:lnTo>
                  <a:lnTo>
                    <a:pt x="167" y="201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6" y="210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3" y="135"/>
                  </a:lnTo>
                  <a:lnTo>
                    <a:pt x="0" y="103"/>
                  </a:lnTo>
                  <a:lnTo>
                    <a:pt x="5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0" y="2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2" name="Freeform 70">
              <a:extLst>
                <a:ext uri="{FF2B5EF4-FFF2-40B4-BE49-F238E27FC236}">
                  <a16:creationId xmlns:a16="http://schemas.microsoft.com/office/drawing/2014/main" id="{B2562B64-772D-4E11-8AC3-D9A058C9E0F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093830" y="2105878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8 h 219"/>
                <a:gd name="T4" fmla="*/ 182 w 219"/>
                <a:gd name="T5" fmla="*/ 26 h 219"/>
                <a:gd name="T6" fmla="*/ 202 w 219"/>
                <a:gd name="T7" fmla="*/ 52 h 219"/>
                <a:gd name="T8" fmla="*/ 216 w 219"/>
                <a:gd name="T9" fmla="*/ 83 h 219"/>
                <a:gd name="T10" fmla="*/ 219 w 219"/>
                <a:gd name="T11" fmla="*/ 118 h 219"/>
                <a:gd name="T12" fmla="*/ 211 w 219"/>
                <a:gd name="T13" fmla="*/ 153 h 219"/>
                <a:gd name="T14" fmla="*/ 193 w 219"/>
                <a:gd name="T15" fmla="*/ 181 h 219"/>
                <a:gd name="T16" fmla="*/ 167 w 219"/>
                <a:gd name="T17" fmla="*/ 204 h 219"/>
                <a:gd name="T18" fmla="*/ 136 w 219"/>
                <a:gd name="T19" fmla="*/ 216 h 219"/>
                <a:gd name="T20" fmla="*/ 104 w 219"/>
                <a:gd name="T21" fmla="*/ 219 h 219"/>
                <a:gd name="T22" fmla="*/ 69 w 219"/>
                <a:gd name="T23" fmla="*/ 213 h 219"/>
                <a:gd name="T24" fmla="*/ 38 w 219"/>
                <a:gd name="T25" fmla="*/ 193 h 219"/>
                <a:gd name="T26" fmla="*/ 17 w 219"/>
                <a:gd name="T27" fmla="*/ 167 h 219"/>
                <a:gd name="T28" fmla="*/ 3 w 219"/>
                <a:gd name="T29" fmla="*/ 138 h 219"/>
                <a:gd name="T30" fmla="*/ 0 w 219"/>
                <a:gd name="T31" fmla="*/ 104 h 219"/>
                <a:gd name="T32" fmla="*/ 9 w 219"/>
                <a:gd name="T33" fmla="*/ 69 h 219"/>
                <a:gd name="T34" fmla="*/ 26 w 219"/>
                <a:gd name="T35" fmla="*/ 40 h 219"/>
                <a:gd name="T36" fmla="*/ 52 w 219"/>
                <a:gd name="T37" fmla="*/ 17 h 219"/>
                <a:gd name="T38" fmla="*/ 84 w 219"/>
                <a:gd name="T39" fmla="*/ 6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8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3"/>
                  </a:lnTo>
                  <a:lnTo>
                    <a:pt x="219" y="118"/>
                  </a:lnTo>
                  <a:lnTo>
                    <a:pt x="211" y="153"/>
                  </a:lnTo>
                  <a:lnTo>
                    <a:pt x="193" y="181"/>
                  </a:lnTo>
                  <a:lnTo>
                    <a:pt x="167" y="204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69" y="213"/>
                  </a:lnTo>
                  <a:lnTo>
                    <a:pt x="38" y="193"/>
                  </a:lnTo>
                  <a:lnTo>
                    <a:pt x="17" y="167"/>
                  </a:lnTo>
                  <a:lnTo>
                    <a:pt x="3" y="138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4" y="6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3" name="Freeform 71">
              <a:extLst>
                <a:ext uri="{FF2B5EF4-FFF2-40B4-BE49-F238E27FC236}">
                  <a16:creationId xmlns:a16="http://schemas.microsoft.com/office/drawing/2014/main" id="{1405798E-8B3C-459D-8DD8-0BEFEACB7A7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285045" y="1985869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50 w 216"/>
                <a:gd name="T3" fmla="*/ 8 h 219"/>
                <a:gd name="T4" fmla="*/ 178 w 216"/>
                <a:gd name="T5" fmla="*/ 26 h 219"/>
                <a:gd name="T6" fmla="*/ 201 w 216"/>
                <a:gd name="T7" fmla="*/ 52 h 219"/>
                <a:gd name="T8" fmla="*/ 213 w 216"/>
                <a:gd name="T9" fmla="*/ 83 h 219"/>
                <a:gd name="T10" fmla="*/ 216 w 216"/>
                <a:gd name="T11" fmla="*/ 115 h 219"/>
                <a:gd name="T12" fmla="*/ 210 w 216"/>
                <a:gd name="T13" fmla="*/ 150 h 219"/>
                <a:gd name="T14" fmla="*/ 190 w 216"/>
                <a:gd name="T15" fmla="*/ 178 h 219"/>
                <a:gd name="T16" fmla="*/ 167 w 216"/>
                <a:gd name="T17" fmla="*/ 201 h 219"/>
                <a:gd name="T18" fmla="*/ 135 w 216"/>
                <a:gd name="T19" fmla="*/ 216 h 219"/>
                <a:gd name="T20" fmla="*/ 101 w 216"/>
                <a:gd name="T21" fmla="*/ 219 h 219"/>
                <a:gd name="T22" fmla="*/ 69 w 216"/>
                <a:gd name="T23" fmla="*/ 210 h 219"/>
                <a:gd name="T24" fmla="*/ 37 w 216"/>
                <a:gd name="T25" fmla="*/ 193 h 219"/>
                <a:gd name="T26" fmla="*/ 14 w 216"/>
                <a:gd name="T27" fmla="*/ 167 h 219"/>
                <a:gd name="T28" fmla="*/ 3 w 216"/>
                <a:gd name="T29" fmla="*/ 135 h 219"/>
                <a:gd name="T30" fmla="*/ 0 w 216"/>
                <a:gd name="T31" fmla="*/ 101 h 219"/>
                <a:gd name="T32" fmla="*/ 5 w 216"/>
                <a:gd name="T33" fmla="*/ 69 h 219"/>
                <a:gd name="T34" fmla="*/ 23 w 216"/>
                <a:gd name="T35" fmla="*/ 37 h 219"/>
                <a:gd name="T36" fmla="*/ 49 w 216"/>
                <a:gd name="T37" fmla="*/ 14 h 219"/>
                <a:gd name="T38" fmla="*/ 80 w 216"/>
                <a:gd name="T39" fmla="*/ 3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50" y="8"/>
                  </a:lnTo>
                  <a:lnTo>
                    <a:pt x="178" y="26"/>
                  </a:lnTo>
                  <a:lnTo>
                    <a:pt x="201" y="52"/>
                  </a:lnTo>
                  <a:lnTo>
                    <a:pt x="213" y="83"/>
                  </a:lnTo>
                  <a:lnTo>
                    <a:pt x="216" y="115"/>
                  </a:lnTo>
                  <a:lnTo>
                    <a:pt x="210" y="150"/>
                  </a:lnTo>
                  <a:lnTo>
                    <a:pt x="190" y="178"/>
                  </a:lnTo>
                  <a:lnTo>
                    <a:pt x="167" y="201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9" y="210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5" y="69"/>
                  </a:lnTo>
                  <a:lnTo>
                    <a:pt x="23" y="37"/>
                  </a:lnTo>
                  <a:lnTo>
                    <a:pt x="49" y="14"/>
                  </a:lnTo>
                  <a:lnTo>
                    <a:pt x="80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4" name="Freeform 72">
              <a:extLst>
                <a:ext uri="{FF2B5EF4-FFF2-40B4-BE49-F238E27FC236}">
                  <a16:creationId xmlns:a16="http://schemas.microsoft.com/office/drawing/2014/main" id="{EAE6E055-0291-488B-93C2-97942EDFF9C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711476" y="1859460"/>
              <a:ext cx="176013" cy="175213"/>
            </a:xfrm>
            <a:custGeom>
              <a:avLst/>
              <a:gdLst>
                <a:gd name="T0" fmla="*/ 119 w 220"/>
                <a:gd name="T1" fmla="*/ 0 h 219"/>
                <a:gd name="T2" fmla="*/ 153 w 220"/>
                <a:gd name="T3" fmla="*/ 9 h 219"/>
                <a:gd name="T4" fmla="*/ 182 w 220"/>
                <a:gd name="T5" fmla="*/ 26 h 219"/>
                <a:gd name="T6" fmla="*/ 202 w 220"/>
                <a:gd name="T7" fmla="*/ 52 h 219"/>
                <a:gd name="T8" fmla="*/ 217 w 220"/>
                <a:gd name="T9" fmla="*/ 81 h 219"/>
                <a:gd name="T10" fmla="*/ 220 w 220"/>
                <a:gd name="T11" fmla="*/ 116 h 219"/>
                <a:gd name="T12" fmla="*/ 211 w 220"/>
                <a:gd name="T13" fmla="*/ 150 h 219"/>
                <a:gd name="T14" fmla="*/ 194 w 220"/>
                <a:gd name="T15" fmla="*/ 179 h 219"/>
                <a:gd name="T16" fmla="*/ 168 w 220"/>
                <a:gd name="T17" fmla="*/ 202 h 219"/>
                <a:gd name="T18" fmla="*/ 136 w 220"/>
                <a:gd name="T19" fmla="*/ 214 h 219"/>
                <a:gd name="T20" fmla="*/ 104 w 220"/>
                <a:gd name="T21" fmla="*/ 219 h 219"/>
                <a:gd name="T22" fmla="*/ 70 w 220"/>
                <a:gd name="T23" fmla="*/ 211 h 219"/>
                <a:gd name="T24" fmla="*/ 38 w 220"/>
                <a:gd name="T25" fmla="*/ 193 h 219"/>
                <a:gd name="T26" fmla="*/ 18 w 220"/>
                <a:gd name="T27" fmla="*/ 167 h 219"/>
                <a:gd name="T28" fmla="*/ 3 w 220"/>
                <a:gd name="T29" fmla="*/ 136 h 219"/>
                <a:gd name="T30" fmla="*/ 0 w 220"/>
                <a:gd name="T31" fmla="*/ 101 h 219"/>
                <a:gd name="T32" fmla="*/ 9 w 220"/>
                <a:gd name="T33" fmla="*/ 67 h 219"/>
                <a:gd name="T34" fmla="*/ 26 w 220"/>
                <a:gd name="T35" fmla="*/ 38 h 219"/>
                <a:gd name="T36" fmla="*/ 52 w 220"/>
                <a:gd name="T37" fmla="*/ 15 h 219"/>
                <a:gd name="T38" fmla="*/ 84 w 220"/>
                <a:gd name="T39" fmla="*/ 3 h 219"/>
                <a:gd name="T40" fmla="*/ 119 w 220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0" h="219">
                  <a:moveTo>
                    <a:pt x="119" y="0"/>
                  </a:moveTo>
                  <a:lnTo>
                    <a:pt x="153" y="9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7" y="81"/>
                  </a:lnTo>
                  <a:lnTo>
                    <a:pt x="220" y="116"/>
                  </a:lnTo>
                  <a:lnTo>
                    <a:pt x="211" y="150"/>
                  </a:lnTo>
                  <a:lnTo>
                    <a:pt x="194" y="179"/>
                  </a:lnTo>
                  <a:lnTo>
                    <a:pt x="168" y="202"/>
                  </a:lnTo>
                  <a:lnTo>
                    <a:pt x="136" y="214"/>
                  </a:lnTo>
                  <a:lnTo>
                    <a:pt x="104" y="219"/>
                  </a:lnTo>
                  <a:lnTo>
                    <a:pt x="70" y="211"/>
                  </a:lnTo>
                  <a:lnTo>
                    <a:pt x="38" y="193"/>
                  </a:lnTo>
                  <a:lnTo>
                    <a:pt x="18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9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4" y="3"/>
                  </a:lnTo>
                  <a:lnTo>
                    <a:pt x="1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5" name="Freeform 73">
              <a:extLst>
                <a:ext uri="{FF2B5EF4-FFF2-40B4-BE49-F238E27FC236}">
                  <a16:creationId xmlns:a16="http://schemas.microsoft.com/office/drawing/2014/main" id="{43E33AF2-4987-41F9-93DB-34DEF488D05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935492" y="1854659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0 w 219"/>
                <a:gd name="T3" fmla="*/ 6 h 219"/>
                <a:gd name="T4" fmla="*/ 181 w 219"/>
                <a:gd name="T5" fmla="*/ 26 h 219"/>
                <a:gd name="T6" fmla="*/ 202 w 219"/>
                <a:gd name="T7" fmla="*/ 49 h 219"/>
                <a:gd name="T8" fmla="*/ 216 w 219"/>
                <a:gd name="T9" fmla="*/ 81 h 219"/>
                <a:gd name="T10" fmla="*/ 219 w 219"/>
                <a:gd name="T11" fmla="*/ 115 h 219"/>
                <a:gd name="T12" fmla="*/ 210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5 w 219"/>
                <a:gd name="T19" fmla="*/ 213 h 219"/>
                <a:gd name="T20" fmla="*/ 104 w 219"/>
                <a:gd name="T21" fmla="*/ 219 h 219"/>
                <a:gd name="T22" fmla="*/ 69 w 219"/>
                <a:gd name="T23" fmla="*/ 210 h 219"/>
                <a:gd name="T24" fmla="*/ 37 w 219"/>
                <a:gd name="T25" fmla="*/ 190 h 219"/>
                <a:gd name="T26" fmla="*/ 17 w 219"/>
                <a:gd name="T27" fmla="*/ 164 h 219"/>
                <a:gd name="T28" fmla="*/ 3 w 219"/>
                <a:gd name="T29" fmla="*/ 135 h 219"/>
                <a:gd name="T30" fmla="*/ 0 w 219"/>
                <a:gd name="T31" fmla="*/ 101 h 219"/>
                <a:gd name="T32" fmla="*/ 9 w 219"/>
                <a:gd name="T33" fmla="*/ 66 h 219"/>
                <a:gd name="T34" fmla="*/ 26 w 219"/>
                <a:gd name="T35" fmla="*/ 37 h 219"/>
                <a:gd name="T36" fmla="*/ 52 w 219"/>
                <a:gd name="T37" fmla="*/ 14 h 219"/>
                <a:gd name="T38" fmla="*/ 83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0" y="6"/>
                  </a:lnTo>
                  <a:lnTo>
                    <a:pt x="181" y="26"/>
                  </a:lnTo>
                  <a:lnTo>
                    <a:pt x="202" y="49"/>
                  </a:lnTo>
                  <a:lnTo>
                    <a:pt x="216" y="81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3"/>
                  </a:lnTo>
                  <a:lnTo>
                    <a:pt x="104" y="219"/>
                  </a:lnTo>
                  <a:lnTo>
                    <a:pt x="69" y="210"/>
                  </a:lnTo>
                  <a:lnTo>
                    <a:pt x="37" y="190"/>
                  </a:lnTo>
                  <a:lnTo>
                    <a:pt x="17" y="164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9" y="66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6" name="Freeform 74">
              <a:extLst>
                <a:ext uri="{FF2B5EF4-FFF2-40B4-BE49-F238E27FC236}">
                  <a16:creationId xmlns:a16="http://schemas.microsoft.com/office/drawing/2014/main" id="{5E8885FB-80D5-4146-BAD3-B9A4B107A88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2092303" y="4324439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6 h 219"/>
                <a:gd name="T4" fmla="*/ 179 w 219"/>
                <a:gd name="T5" fmla="*/ 26 h 219"/>
                <a:gd name="T6" fmla="*/ 202 w 219"/>
                <a:gd name="T7" fmla="*/ 52 h 219"/>
                <a:gd name="T8" fmla="*/ 216 w 219"/>
                <a:gd name="T9" fmla="*/ 81 h 219"/>
                <a:gd name="T10" fmla="*/ 219 w 219"/>
                <a:gd name="T11" fmla="*/ 116 h 219"/>
                <a:gd name="T12" fmla="*/ 210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5 w 219"/>
                <a:gd name="T19" fmla="*/ 214 h 219"/>
                <a:gd name="T20" fmla="*/ 101 w 219"/>
                <a:gd name="T21" fmla="*/ 219 h 219"/>
                <a:gd name="T22" fmla="*/ 66 w 219"/>
                <a:gd name="T23" fmla="*/ 211 h 219"/>
                <a:gd name="T24" fmla="*/ 37 w 219"/>
                <a:gd name="T25" fmla="*/ 193 h 219"/>
                <a:gd name="T26" fmla="*/ 14 w 219"/>
                <a:gd name="T27" fmla="*/ 167 h 219"/>
                <a:gd name="T28" fmla="*/ 3 w 219"/>
                <a:gd name="T29" fmla="*/ 136 h 219"/>
                <a:gd name="T30" fmla="*/ 0 w 219"/>
                <a:gd name="T31" fmla="*/ 101 h 219"/>
                <a:gd name="T32" fmla="*/ 8 w 219"/>
                <a:gd name="T33" fmla="*/ 69 h 219"/>
                <a:gd name="T34" fmla="*/ 26 w 219"/>
                <a:gd name="T35" fmla="*/ 38 h 219"/>
                <a:gd name="T36" fmla="*/ 52 w 219"/>
                <a:gd name="T37" fmla="*/ 15 h 219"/>
                <a:gd name="T38" fmla="*/ 81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6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6" y="81"/>
                  </a:lnTo>
                  <a:lnTo>
                    <a:pt x="219" y="116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4"/>
                  </a:lnTo>
                  <a:lnTo>
                    <a:pt x="101" y="219"/>
                  </a:lnTo>
                  <a:lnTo>
                    <a:pt x="66" y="211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8" y="69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7" name="Freeform 75">
              <a:extLst>
                <a:ext uri="{FF2B5EF4-FFF2-40B4-BE49-F238E27FC236}">
                  <a16:creationId xmlns:a16="http://schemas.microsoft.com/office/drawing/2014/main" id="{A6134ABD-F1E6-4076-ABED-729889FE9D9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870687" y="4349241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49 w 219"/>
                <a:gd name="T3" fmla="*/ 8 h 219"/>
                <a:gd name="T4" fmla="*/ 181 w 219"/>
                <a:gd name="T5" fmla="*/ 25 h 219"/>
                <a:gd name="T6" fmla="*/ 201 w 219"/>
                <a:gd name="T7" fmla="*/ 51 h 219"/>
                <a:gd name="T8" fmla="*/ 216 w 219"/>
                <a:gd name="T9" fmla="*/ 83 h 219"/>
                <a:gd name="T10" fmla="*/ 219 w 219"/>
                <a:gd name="T11" fmla="*/ 115 h 219"/>
                <a:gd name="T12" fmla="*/ 210 w 219"/>
                <a:gd name="T13" fmla="*/ 149 h 219"/>
                <a:gd name="T14" fmla="*/ 193 w 219"/>
                <a:gd name="T15" fmla="*/ 181 h 219"/>
                <a:gd name="T16" fmla="*/ 167 w 219"/>
                <a:gd name="T17" fmla="*/ 201 h 219"/>
                <a:gd name="T18" fmla="*/ 135 w 219"/>
                <a:gd name="T19" fmla="*/ 216 h 219"/>
                <a:gd name="T20" fmla="*/ 103 w 219"/>
                <a:gd name="T21" fmla="*/ 219 h 219"/>
                <a:gd name="T22" fmla="*/ 69 w 219"/>
                <a:gd name="T23" fmla="*/ 210 h 219"/>
                <a:gd name="T24" fmla="*/ 37 w 219"/>
                <a:gd name="T25" fmla="*/ 193 h 219"/>
                <a:gd name="T26" fmla="*/ 17 w 219"/>
                <a:gd name="T27" fmla="*/ 167 h 219"/>
                <a:gd name="T28" fmla="*/ 2 w 219"/>
                <a:gd name="T29" fmla="*/ 135 h 219"/>
                <a:gd name="T30" fmla="*/ 0 w 219"/>
                <a:gd name="T31" fmla="*/ 103 h 219"/>
                <a:gd name="T32" fmla="*/ 8 w 219"/>
                <a:gd name="T33" fmla="*/ 69 h 219"/>
                <a:gd name="T34" fmla="*/ 26 w 219"/>
                <a:gd name="T35" fmla="*/ 37 h 219"/>
                <a:gd name="T36" fmla="*/ 51 w 219"/>
                <a:gd name="T37" fmla="*/ 17 h 219"/>
                <a:gd name="T38" fmla="*/ 83 w 219"/>
                <a:gd name="T39" fmla="*/ 2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49" y="8"/>
                  </a:lnTo>
                  <a:lnTo>
                    <a:pt x="181" y="25"/>
                  </a:lnTo>
                  <a:lnTo>
                    <a:pt x="201" y="51"/>
                  </a:lnTo>
                  <a:lnTo>
                    <a:pt x="216" y="83"/>
                  </a:lnTo>
                  <a:lnTo>
                    <a:pt x="219" y="115"/>
                  </a:lnTo>
                  <a:lnTo>
                    <a:pt x="210" y="149"/>
                  </a:lnTo>
                  <a:lnTo>
                    <a:pt x="193" y="181"/>
                  </a:lnTo>
                  <a:lnTo>
                    <a:pt x="167" y="201"/>
                  </a:lnTo>
                  <a:lnTo>
                    <a:pt x="135" y="216"/>
                  </a:lnTo>
                  <a:lnTo>
                    <a:pt x="103" y="219"/>
                  </a:lnTo>
                  <a:lnTo>
                    <a:pt x="69" y="210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2" y="135"/>
                  </a:lnTo>
                  <a:lnTo>
                    <a:pt x="0" y="103"/>
                  </a:lnTo>
                  <a:lnTo>
                    <a:pt x="8" y="69"/>
                  </a:lnTo>
                  <a:lnTo>
                    <a:pt x="26" y="37"/>
                  </a:lnTo>
                  <a:lnTo>
                    <a:pt x="51" y="17"/>
                  </a:lnTo>
                  <a:lnTo>
                    <a:pt x="83" y="2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8" name="Freeform 76">
              <a:extLst>
                <a:ext uri="{FF2B5EF4-FFF2-40B4-BE49-F238E27FC236}">
                  <a16:creationId xmlns:a16="http://schemas.microsoft.com/office/drawing/2014/main" id="{2E02F3AF-E0EB-4FAD-A16E-F8749263EC5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647471" y="4333240"/>
              <a:ext cx="175213" cy="175213"/>
            </a:xfrm>
            <a:custGeom>
              <a:avLst/>
              <a:gdLst>
                <a:gd name="T0" fmla="*/ 116 w 219"/>
                <a:gd name="T1" fmla="*/ 0 h 219"/>
                <a:gd name="T2" fmla="*/ 150 w 219"/>
                <a:gd name="T3" fmla="*/ 8 h 219"/>
                <a:gd name="T4" fmla="*/ 182 w 219"/>
                <a:gd name="T5" fmla="*/ 26 h 219"/>
                <a:gd name="T6" fmla="*/ 202 w 219"/>
                <a:gd name="T7" fmla="*/ 52 h 219"/>
                <a:gd name="T8" fmla="*/ 216 w 219"/>
                <a:gd name="T9" fmla="*/ 83 h 219"/>
                <a:gd name="T10" fmla="*/ 219 w 219"/>
                <a:gd name="T11" fmla="*/ 115 h 219"/>
                <a:gd name="T12" fmla="*/ 211 w 219"/>
                <a:gd name="T13" fmla="*/ 150 h 219"/>
                <a:gd name="T14" fmla="*/ 193 w 219"/>
                <a:gd name="T15" fmla="*/ 181 h 219"/>
                <a:gd name="T16" fmla="*/ 167 w 219"/>
                <a:gd name="T17" fmla="*/ 201 h 219"/>
                <a:gd name="T18" fmla="*/ 136 w 219"/>
                <a:gd name="T19" fmla="*/ 216 h 219"/>
                <a:gd name="T20" fmla="*/ 104 w 219"/>
                <a:gd name="T21" fmla="*/ 219 h 219"/>
                <a:gd name="T22" fmla="*/ 69 w 219"/>
                <a:gd name="T23" fmla="*/ 210 h 219"/>
                <a:gd name="T24" fmla="*/ 38 w 219"/>
                <a:gd name="T25" fmla="*/ 193 h 219"/>
                <a:gd name="T26" fmla="*/ 18 w 219"/>
                <a:gd name="T27" fmla="*/ 167 h 219"/>
                <a:gd name="T28" fmla="*/ 3 w 219"/>
                <a:gd name="T29" fmla="*/ 135 h 219"/>
                <a:gd name="T30" fmla="*/ 0 w 219"/>
                <a:gd name="T31" fmla="*/ 101 h 219"/>
                <a:gd name="T32" fmla="*/ 9 w 219"/>
                <a:gd name="T33" fmla="*/ 69 h 219"/>
                <a:gd name="T34" fmla="*/ 26 w 219"/>
                <a:gd name="T35" fmla="*/ 37 h 219"/>
                <a:gd name="T36" fmla="*/ 52 w 219"/>
                <a:gd name="T37" fmla="*/ 17 h 219"/>
                <a:gd name="T38" fmla="*/ 84 w 219"/>
                <a:gd name="T39" fmla="*/ 3 h 219"/>
                <a:gd name="T40" fmla="*/ 116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6" y="0"/>
                  </a:moveTo>
                  <a:lnTo>
                    <a:pt x="150" y="8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3"/>
                  </a:lnTo>
                  <a:lnTo>
                    <a:pt x="219" y="115"/>
                  </a:lnTo>
                  <a:lnTo>
                    <a:pt x="211" y="150"/>
                  </a:lnTo>
                  <a:lnTo>
                    <a:pt x="193" y="181"/>
                  </a:lnTo>
                  <a:lnTo>
                    <a:pt x="167" y="201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69" y="210"/>
                  </a:lnTo>
                  <a:lnTo>
                    <a:pt x="38" y="193"/>
                  </a:lnTo>
                  <a:lnTo>
                    <a:pt x="18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9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4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9" name="Freeform 77">
              <a:extLst>
                <a:ext uri="{FF2B5EF4-FFF2-40B4-BE49-F238E27FC236}">
                  <a16:creationId xmlns:a16="http://schemas.microsoft.com/office/drawing/2014/main" id="{07ABD3CC-E38F-406D-9482-BD0E09D4DF1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462657" y="4310038"/>
              <a:ext cx="110408" cy="111208"/>
            </a:xfrm>
            <a:custGeom>
              <a:avLst/>
              <a:gdLst>
                <a:gd name="T0" fmla="*/ 69 w 138"/>
                <a:gd name="T1" fmla="*/ 0 h 139"/>
                <a:gd name="T2" fmla="*/ 95 w 138"/>
                <a:gd name="T3" fmla="*/ 6 h 139"/>
                <a:gd name="T4" fmla="*/ 118 w 138"/>
                <a:gd name="T5" fmla="*/ 20 h 139"/>
                <a:gd name="T6" fmla="*/ 132 w 138"/>
                <a:gd name="T7" fmla="*/ 43 h 139"/>
                <a:gd name="T8" fmla="*/ 138 w 138"/>
                <a:gd name="T9" fmla="*/ 69 h 139"/>
                <a:gd name="T10" fmla="*/ 132 w 138"/>
                <a:gd name="T11" fmla="*/ 95 h 139"/>
                <a:gd name="T12" fmla="*/ 118 w 138"/>
                <a:gd name="T13" fmla="*/ 118 h 139"/>
                <a:gd name="T14" fmla="*/ 95 w 138"/>
                <a:gd name="T15" fmla="*/ 133 h 139"/>
                <a:gd name="T16" fmla="*/ 69 w 138"/>
                <a:gd name="T17" fmla="*/ 139 h 139"/>
                <a:gd name="T18" fmla="*/ 43 w 138"/>
                <a:gd name="T19" fmla="*/ 133 h 139"/>
                <a:gd name="T20" fmla="*/ 20 w 138"/>
                <a:gd name="T21" fmla="*/ 118 h 139"/>
                <a:gd name="T22" fmla="*/ 5 w 138"/>
                <a:gd name="T23" fmla="*/ 95 h 139"/>
                <a:gd name="T24" fmla="*/ 0 w 138"/>
                <a:gd name="T25" fmla="*/ 69 h 139"/>
                <a:gd name="T26" fmla="*/ 5 w 138"/>
                <a:gd name="T27" fmla="*/ 43 h 139"/>
                <a:gd name="T28" fmla="*/ 20 w 138"/>
                <a:gd name="T29" fmla="*/ 20 h 139"/>
                <a:gd name="T30" fmla="*/ 43 w 138"/>
                <a:gd name="T31" fmla="*/ 6 h 139"/>
                <a:gd name="T32" fmla="*/ 69 w 138"/>
                <a:gd name="T33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9">
                  <a:moveTo>
                    <a:pt x="69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2" y="43"/>
                  </a:lnTo>
                  <a:lnTo>
                    <a:pt x="138" y="69"/>
                  </a:lnTo>
                  <a:lnTo>
                    <a:pt x="132" y="95"/>
                  </a:lnTo>
                  <a:lnTo>
                    <a:pt x="118" y="118"/>
                  </a:lnTo>
                  <a:lnTo>
                    <a:pt x="95" y="133"/>
                  </a:lnTo>
                  <a:lnTo>
                    <a:pt x="69" y="139"/>
                  </a:lnTo>
                  <a:lnTo>
                    <a:pt x="43" y="133"/>
                  </a:lnTo>
                  <a:lnTo>
                    <a:pt x="20" y="118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0" name="Freeform 78">
              <a:extLst>
                <a:ext uri="{FF2B5EF4-FFF2-40B4-BE49-F238E27FC236}">
                  <a16:creationId xmlns:a16="http://schemas.microsoft.com/office/drawing/2014/main" id="{99BDB716-BD89-4C6B-82F0-CC0F88F71E6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259443" y="4218032"/>
              <a:ext cx="108808" cy="108808"/>
            </a:xfrm>
            <a:custGeom>
              <a:avLst/>
              <a:gdLst>
                <a:gd name="T0" fmla="*/ 66 w 136"/>
                <a:gd name="T1" fmla="*/ 0 h 136"/>
                <a:gd name="T2" fmla="*/ 92 w 136"/>
                <a:gd name="T3" fmla="*/ 6 h 136"/>
                <a:gd name="T4" fmla="*/ 115 w 136"/>
                <a:gd name="T5" fmla="*/ 21 h 136"/>
                <a:gd name="T6" fmla="*/ 130 w 136"/>
                <a:gd name="T7" fmla="*/ 41 h 136"/>
                <a:gd name="T8" fmla="*/ 136 w 136"/>
                <a:gd name="T9" fmla="*/ 67 h 136"/>
                <a:gd name="T10" fmla="*/ 130 w 136"/>
                <a:gd name="T11" fmla="*/ 93 h 136"/>
                <a:gd name="T12" fmla="*/ 115 w 136"/>
                <a:gd name="T13" fmla="*/ 116 h 136"/>
                <a:gd name="T14" fmla="*/ 92 w 136"/>
                <a:gd name="T15" fmla="*/ 130 h 136"/>
                <a:gd name="T16" fmla="*/ 69 w 136"/>
                <a:gd name="T17" fmla="*/ 136 h 136"/>
                <a:gd name="T18" fmla="*/ 40 w 136"/>
                <a:gd name="T19" fmla="*/ 130 h 136"/>
                <a:gd name="T20" fmla="*/ 20 w 136"/>
                <a:gd name="T21" fmla="*/ 116 h 136"/>
                <a:gd name="T22" fmla="*/ 6 w 136"/>
                <a:gd name="T23" fmla="*/ 96 h 136"/>
                <a:gd name="T24" fmla="*/ 0 w 136"/>
                <a:gd name="T25" fmla="*/ 70 h 136"/>
                <a:gd name="T26" fmla="*/ 6 w 136"/>
                <a:gd name="T27" fmla="*/ 44 h 136"/>
                <a:gd name="T28" fmla="*/ 20 w 136"/>
                <a:gd name="T29" fmla="*/ 21 h 136"/>
                <a:gd name="T30" fmla="*/ 40 w 136"/>
                <a:gd name="T31" fmla="*/ 6 h 136"/>
                <a:gd name="T32" fmla="*/ 66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6" y="0"/>
                  </a:moveTo>
                  <a:lnTo>
                    <a:pt x="92" y="6"/>
                  </a:lnTo>
                  <a:lnTo>
                    <a:pt x="115" y="21"/>
                  </a:lnTo>
                  <a:lnTo>
                    <a:pt x="130" y="41"/>
                  </a:lnTo>
                  <a:lnTo>
                    <a:pt x="136" y="67"/>
                  </a:lnTo>
                  <a:lnTo>
                    <a:pt x="130" y="93"/>
                  </a:lnTo>
                  <a:lnTo>
                    <a:pt x="115" y="116"/>
                  </a:lnTo>
                  <a:lnTo>
                    <a:pt x="92" y="130"/>
                  </a:lnTo>
                  <a:lnTo>
                    <a:pt x="69" y="136"/>
                  </a:lnTo>
                  <a:lnTo>
                    <a:pt x="40" y="130"/>
                  </a:lnTo>
                  <a:lnTo>
                    <a:pt x="20" y="116"/>
                  </a:lnTo>
                  <a:lnTo>
                    <a:pt x="6" y="96"/>
                  </a:lnTo>
                  <a:lnTo>
                    <a:pt x="0" y="70"/>
                  </a:lnTo>
                  <a:lnTo>
                    <a:pt x="6" y="44"/>
                  </a:lnTo>
                  <a:lnTo>
                    <a:pt x="20" y="21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1" name="Freeform 79">
              <a:extLst>
                <a:ext uri="{FF2B5EF4-FFF2-40B4-BE49-F238E27FC236}">
                  <a16:creationId xmlns:a16="http://schemas.microsoft.com/office/drawing/2014/main" id="{84A4201E-7315-44F6-91EC-A38748E3782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042627" y="4056420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49 w 219"/>
                <a:gd name="T3" fmla="*/ 8 h 219"/>
                <a:gd name="T4" fmla="*/ 181 w 219"/>
                <a:gd name="T5" fmla="*/ 26 h 219"/>
                <a:gd name="T6" fmla="*/ 201 w 219"/>
                <a:gd name="T7" fmla="*/ 51 h 219"/>
                <a:gd name="T8" fmla="*/ 216 w 219"/>
                <a:gd name="T9" fmla="*/ 83 h 219"/>
                <a:gd name="T10" fmla="*/ 219 w 219"/>
                <a:gd name="T11" fmla="*/ 115 h 219"/>
                <a:gd name="T12" fmla="*/ 210 w 219"/>
                <a:gd name="T13" fmla="*/ 149 h 219"/>
                <a:gd name="T14" fmla="*/ 193 w 219"/>
                <a:gd name="T15" fmla="*/ 181 h 219"/>
                <a:gd name="T16" fmla="*/ 167 w 219"/>
                <a:gd name="T17" fmla="*/ 201 h 219"/>
                <a:gd name="T18" fmla="*/ 135 w 219"/>
                <a:gd name="T19" fmla="*/ 216 h 219"/>
                <a:gd name="T20" fmla="*/ 100 w 219"/>
                <a:gd name="T21" fmla="*/ 219 h 219"/>
                <a:gd name="T22" fmla="*/ 66 w 219"/>
                <a:gd name="T23" fmla="*/ 210 h 219"/>
                <a:gd name="T24" fmla="*/ 37 w 219"/>
                <a:gd name="T25" fmla="*/ 193 h 219"/>
                <a:gd name="T26" fmla="*/ 17 w 219"/>
                <a:gd name="T27" fmla="*/ 167 h 219"/>
                <a:gd name="T28" fmla="*/ 2 w 219"/>
                <a:gd name="T29" fmla="*/ 135 h 219"/>
                <a:gd name="T30" fmla="*/ 0 w 219"/>
                <a:gd name="T31" fmla="*/ 103 h 219"/>
                <a:gd name="T32" fmla="*/ 8 w 219"/>
                <a:gd name="T33" fmla="*/ 69 h 219"/>
                <a:gd name="T34" fmla="*/ 25 w 219"/>
                <a:gd name="T35" fmla="*/ 37 h 219"/>
                <a:gd name="T36" fmla="*/ 51 w 219"/>
                <a:gd name="T37" fmla="*/ 17 h 219"/>
                <a:gd name="T38" fmla="*/ 83 w 219"/>
                <a:gd name="T39" fmla="*/ 2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49" y="8"/>
                  </a:lnTo>
                  <a:lnTo>
                    <a:pt x="181" y="26"/>
                  </a:lnTo>
                  <a:lnTo>
                    <a:pt x="201" y="51"/>
                  </a:lnTo>
                  <a:lnTo>
                    <a:pt x="216" y="83"/>
                  </a:lnTo>
                  <a:lnTo>
                    <a:pt x="219" y="115"/>
                  </a:lnTo>
                  <a:lnTo>
                    <a:pt x="210" y="149"/>
                  </a:lnTo>
                  <a:lnTo>
                    <a:pt x="193" y="181"/>
                  </a:lnTo>
                  <a:lnTo>
                    <a:pt x="167" y="201"/>
                  </a:lnTo>
                  <a:lnTo>
                    <a:pt x="135" y="216"/>
                  </a:lnTo>
                  <a:lnTo>
                    <a:pt x="100" y="219"/>
                  </a:lnTo>
                  <a:lnTo>
                    <a:pt x="66" y="210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2" y="135"/>
                  </a:lnTo>
                  <a:lnTo>
                    <a:pt x="0" y="103"/>
                  </a:lnTo>
                  <a:lnTo>
                    <a:pt x="8" y="69"/>
                  </a:lnTo>
                  <a:lnTo>
                    <a:pt x="25" y="37"/>
                  </a:lnTo>
                  <a:lnTo>
                    <a:pt x="51" y="17"/>
                  </a:lnTo>
                  <a:lnTo>
                    <a:pt x="83" y="2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2" name="Freeform 80">
              <a:extLst>
                <a:ext uri="{FF2B5EF4-FFF2-40B4-BE49-F238E27FC236}">
                  <a16:creationId xmlns:a16="http://schemas.microsoft.com/office/drawing/2014/main" id="{C0C6CB4D-F4F9-444C-8DE2-41D8344A85A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885815" y="3898008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49 w 219"/>
                <a:gd name="T3" fmla="*/ 9 h 219"/>
                <a:gd name="T4" fmla="*/ 181 w 219"/>
                <a:gd name="T5" fmla="*/ 26 h 219"/>
                <a:gd name="T6" fmla="*/ 204 w 219"/>
                <a:gd name="T7" fmla="*/ 52 h 219"/>
                <a:gd name="T8" fmla="*/ 216 w 219"/>
                <a:gd name="T9" fmla="*/ 84 h 219"/>
                <a:gd name="T10" fmla="*/ 219 w 219"/>
                <a:gd name="T11" fmla="*/ 116 h 219"/>
                <a:gd name="T12" fmla="*/ 210 w 219"/>
                <a:gd name="T13" fmla="*/ 150 h 219"/>
                <a:gd name="T14" fmla="*/ 193 w 219"/>
                <a:gd name="T15" fmla="*/ 182 h 219"/>
                <a:gd name="T16" fmla="*/ 167 w 219"/>
                <a:gd name="T17" fmla="*/ 202 h 219"/>
                <a:gd name="T18" fmla="*/ 138 w 219"/>
                <a:gd name="T19" fmla="*/ 217 h 219"/>
                <a:gd name="T20" fmla="*/ 103 w 219"/>
                <a:gd name="T21" fmla="*/ 219 h 219"/>
                <a:gd name="T22" fmla="*/ 69 w 219"/>
                <a:gd name="T23" fmla="*/ 211 h 219"/>
                <a:gd name="T24" fmla="*/ 40 w 219"/>
                <a:gd name="T25" fmla="*/ 194 h 219"/>
                <a:gd name="T26" fmla="*/ 17 w 219"/>
                <a:gd name="T27" fmla="*/ 168 h 219"/>
                <a:gd name="T28" fmla="*/ 2 w 219"/>
                <a:gd name="T29" fmla="*/ 136 h 219"/>
                <a:gd name="T30" fmla="*/ 0 w 219"/>
                <a:gd name="T31" fmla="*/ 101 h 219"/>
                <a:gd name="T32" fmla="*/ 8 w 219"/>
                <a:gd name="T33" fmla="*/ 70 h 219"/>
                <a:gd name="T34" fmla="*/ 25 w 219"/>
                <a:gd name="T35" fmla="*/ 38 h 219"/>
                <a:gd name="T36" fmla="*/ 51 w 219"/>
                <a:gd name="T37" fmla="*/ 18 h 219"/>
                <a:gd name="T38" fmla="*/ 83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49" y="9"/>
                  </a:lnTo>
                  <a:lnTo>
                    <a:pt x="181" y="26"/>
                  </a:lnTo>
                  <a:lnTo>
                    <a:pt x="204" y="52"/>
                  </a:lnTo>
                  <a:lnTo>
                    <a:pt x="216" y="84"/>
                  </a:lnTo>
                  <a:lnTo>
                    <a:pt x="219" y="116"/>
                  </a:lnTo>
                  <a:lnTo>
                    <a:pt x="210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8" y="217"/>
                  </a:lnTo>
                  <a:lnTo>
                    <a:pt x="103" y="219"/>
                  </a:lnTo>
                  <a:lnTo>
                    <a:pt x="69" y="211"/>
                  </a:lnTo>
                  <a:lnTo>
                    <a:pt x="40" y="194"/>
                  </a:lnTo>
                  <a:lnTo>
                    <a:pt x="17" y="168"/>
                  </a:lnTo>
                  <a:lnTo>
                    <a:pt x="2" y="136"/>
                  </a:lnTo>
                  <a:lnTo>
                    <a:pt x="0" y="101"/>
                  </a:lnTo>
                  <a:lnTo>
                    <a:pt x="8" y="70"/>
                  </a:lnTo>
                  <a:lnTo>
                    <a:pt x="25" y="38"/>
                  </a:lnTo>
                  <a:lnTo>
                    <a:pt x="51" y="18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3" name="Freeform 81">
              <a:extLst>
                <a:ext uri="{FF2B5EF4-FFF2-40B4-BE49-F238E27FC236}">
                  <a16:creationId xmlns:a16="http://schemas.microsoft.com/office/drawing/2014/main" id="{5F151DBE-647F-4CB2-A53C-7B88CE8A8CB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759406" y="3713195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0 w 219"/>
                <a:gd name="T3" fmla="*/ 9 h 219"/>
                <a:gd name="T4" fmla="*/ 182 w 219"/>
                <a:gd name="T5" fmla="*/ 26 h 219"/>
                <a:gd name="T6" fmla="*/ 205 w 219"/>
                <a:gd name="T7" fmla="*/ 52 h 219"/>
                <a:gd name="T8" fmla="*/ 216 w 219"/>
                <a:gd name="T9" fmla="*/ 84 h 219"/>
                <a:gd name="T10" fmla="*/ 219 w 219"/>
                <a:gd name="T11" fmla="*/ 115 h 219"/>
                <a:gd name="T12" fmla="*/ 211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8 w 219"/>
                <a:gd name="T19" fmla="*/ 216 h 219"/>
                <a:gd name="T20" fmla="*/ 104 w 219"/>
                <a:gd name="T21" fmla="*/ 219 h 219"/>
                <a:gd name="T22" fmla="*/ 69 w 219"/>
                <a:gd name="T23" fmla="*/ 210 h 219"/>
                <a:gd name="T24" fmla="*/ 40 w 219"/>
                <a:gd name="T25" fmla="*/ 193 h 219"/>
                <a:gd name="T26" fmla="*/ 17 w 219"/>
                <a:gd name="T27" fmla="*/ 167 h 219"/>
                <a:gd name="T28" fmla="*/ 3 w 219"/>
                <a:gd name="T29" fmla="*/ 135 h 219"/>
                <a:gd name="T30" fmla="*/ 0 w 219"/>
                <a:gd name="T31" fmla="*/ 104 h 219"/>
                <a:gd name="T32" fmla="*/ 9 w 219"/>
                <a:gd name="T33" fmla="*/ 69 h 219"/>
                <a:gd name="T34" fmla="*/ 26 w 219"/>
                <a:gd name="T35" fmla="*/ 37 h 219"/>
                <a:gd name="T36" fmla="*/ 52 w 219"/>
                <a:gd name="T37" fmla="*/ 17 h 219"/>
                <a:gd name="T38" fmla="*/ 84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0" y="9"/>
                  </a:lnTo>
                  <a:lnTo>
                    <a:pt x="182" y="26"/>
                  </a:lnTo>
                  <a:lnTo>
                    <a:pt x="205" y="52"/>
                  </a:lnTo>
                  <a:lnTo>
                    <a:pt x="216" y="84"/>
                  </a:lnTo>
                  <a:lnTo>
                    <a:pt x="219" y="115"/>
                  </a:lnTo>
                  <a:lnTo>
                    <a:pt x="211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8" y="216"/>
                  </a:lnTo>
                  <a:lnTo>
                    <a:pt x="104" y="219"/>
                  </a:lnTo>
                  <a:lnTo>
                    <a:pt x="69" y="210"/>
                  </a:lnTo>
                  <a:lnTo>
                    <a:pt x="40" y="193"/>
                  </a:lnTo>
                  <a:lnTo>
                    <a:pt x="17" y="167"/>
                  </a:lnTo>
                  <a:lnTo>
                    <a:pt x="3" y="135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4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4" name="Freeform 82">
              <a:extLst>
                <a:ext uri="{FF2B5EF4-FFF2-40B4-BE49-F238E27FC236}">
                  <a16:creationId xmlns:a16="http://schemas.microsoft.com/office/drawing/2014/main" id="{55718A81-9372-498A-A96D-D0C241406B5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666600" y="3509980"/>
              <a:ext cx="176013" cy="175213"/>
            </a:xfrm>
            <a:custGeom>
              <a:avLst/>
              <a:gdLst>
                <a:gd name="T0" fmla="*/ 116 w 220"/>
                <a:gd name="T1" fmla="*/ 0 h 219"/>
                <a:gd name="T2" fmla="*/ 150 w 220"/>
                <a:gd name="T3" fmla="*/ 8 h 219"/>
                <a:gd name="T4" fmla="*/ 182 w 220"/>
                <a:gd name="T5" fmla="*/ 26 h 219"/>
                <a:gd name="T6" fmla="*/ 202 w 220"/>
                <a:gd name="T7" fmla="*/ 52 h 219"/>
                <a:gd name="T8" fmla="*/ 217 w 220"/>
                <a:gd name="T9" fmla="*/ 83 h 219"/>
                <a:gd name="T10" fmla="*/ 220 w 220"/>
                <a:gd name="T11" fmla="*/ 118 h 219"/>
                <a:gd name="T12" fmla="*/ 211 w 220"/>
                <a:gd name="T13" fmla="*/ 152 h 219"/>
                <a:gd name="T14" fmla="*/ 194 w 220"/>
                <a:gd name="T15" fmla="*/ 181 h 219"/>
                <a:gd name="T16" fmla="*/ 168 w 220"/>
                <a:gd name="T17" fmla="*/ 204 h 219"/>
                <a:gd name="T18" fmla="*/ 136 w 220"/>
                <a:gd name="T19" fmla="*/ 216 h 219"/>
                <a:gd name="T20" fmla="*/ 104 w 220"/>
                <a:gd name="T21" fmla="*/ 219 h 219"/>
                <a:gd name="T22" fmla="*/ 70 w 220"/>
                <a:gd name="T23" fmla="*/ 213 h 219"/>
                <a:gd name="T24" fmla="*/ 41 w 220"/>
                <a:gd name="T25" fmla="*/ 193 h 219"/>
                <a:gd name="T26" fmla="*/ 18 w 220"/>
                <a:gd name="T27" fmla="*/ 167 h 219"/>
                <a:gd name="T28" fmla="*/ 3 w 220"/>
                <a:gd name="T29" fmla="*/ 138 h 219"/>
                <a:gd name="T30" fmla="*/ 0 w 220"/>
                <a:gd name="T31" fmla="*/ 103 h 219"/>
                <a:gd name="T32" fmla="*/ 9 w 220"/>
                <a:gd name="T33" fmla="*/ 69 h 219"/>
                <a:gd name="T34" fmla="*/ 26 w 220"/>
                <a:gd name="T35" fmla="*/ 40 h 219"/>
                <a:gd name="T36" fmla="*/ 52 w 220"/>
                <a:gd name="T37" fmla="*/ 17 h 219"/>
                <a:gd name="T38" fmla="*/ 84 w 220"/>
                <a:gd name="T39" fmla="*/ 5 h 219"/>
                <a:gd name="T40" fmla="*/ 116 w 220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0" h="219">
                  <a:moveTo>
                    <a:pt x="116" y="0"/>
                  </a:moveTo>
                  <a:lnTo>
                    <a:pt x="150" y="8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7" y="83"/>
                  </a:lnTo>
                  <a:lnTo>
                    <a:pt x="220" y="118"/>
                  </a:lnTo>
                  <a:lnTo>
                    <a:pt x="211" y="152"/>
                  </a:lnTo>
                  <a:lnTo>
                    <a:pt x="194" y="181"/>
                  </a:lnTo>
                  <a:lnTo>
                    <a:pt x="168" y="204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70" y="213"/>
                  </a:lnTo>
                  <a:lnTo>
                    <a:pt x="41" y="193"/>
                  </a:lnTo>
                  <a:lnTo>
                    <a:pt x="18" y="167"/>
                  </a:lnTo>
                  <a:lnTo>
                    <a:pt x="3" y="138"/>
                  </a:lnTo>
                  <a:lnTo>
                    <a:pt x="0" y="103"/>
                  </a:lnTo>
                  <a:lnTo>
                    <a:pt x="9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4" y="5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5" name="Freeform 83">
              <a:extLst>
                <a:ext uri="{FF2B5EF4-FFF2-40B4-BE49-F238E27FC236}">
                  <a16:creationId xmlns:a16="http://schemas.microsoft.com/office/drawing/2014/main" id="{E7707740-F036-45B2-8B65-2F0ABBC189B0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613795" y="3293164"/>
              <a:ext cx="175213" cy="173613"/>
            </a:xfrm>
            <a:custGeom>
              <a:avLst/>
              <a:gdLst>
                <a:gd name="T0" fmla="*/ 118 w 219"/>
                <a:gd name="T1" fmla="*/ 0 h 217"/>
                <a:gd name="T2" fmla="*/ 153 w 219"/>
                <a:gd name="T3" fmla="*/ 9 h 217"/>
                <a:gd name="T4" fmla="*/ 181 w 219"/>
                <a:gd name="T5" fmla="*/ 26 h 217"/>
                <a:gd name="T6" fmla="*/ 204 w 219"/>
                <a:gd name="T7" fmla="*/ 52 h 217"/>
                <a:gd name="T8" fmla="*/ 216 w 219"/>
                <a:gd name="T9" fmla="*/ 81 h 217"/>
                <a:gd name="T10" fmla="*/ 219 w 219"/>
                <a:gd name="T11" fmla="*/ 116 h 217"/>
                <a:gd name="T12" fmla="*/ 210 w 219"/>
                <a:gd name="T13" fmla="*/ 150 h 217"/>
                <a:gd name="T14" fmla="*/ 193 w 219"/>
                <a:gd name="T15" fmla="*/ 179 h 217"/>
                <a:gd name="T16" fmla="*/ 167 w 219"/>
                <a:gd name="T17" fmla="*/ 202 h 217"/>
                <a:gd name="T18" fmla="*/ 138 w 219"/>
                <a:gd name="T19" fmla="*/ 214 h 217"/>
                <a:gd name="T20" fmla="*/ 103 w 219"/>
                <a:gd name="T21" fmla="*/ 217 h 217"/>
                <a:gd name="T22" fmla="*/ 69 w 219"/>
                <a:gd name="T23" fmla="*/ 211 h 217"/>
                <a:gd name="T24" fmla="*/ 40 w 219"/>
                <a:gd name="T25" fmla="*/ 194 h 217"/>
                <a:gd name="T26" fmla="*/ 17 w 219"/>
                <a:gd name="T27" fmla="*/ 168 h 217"/>
                <a:gd name="T28" fmla="*/ 5 w 219"/>
                <a:gd name="T29" fmla="*/ 136 h 217"/>
                <a:gd name="T30" fmla="*/ 0 w 219"/>
                <a:gd name="T31" fmla="*/ 101 h 217"/>
                <a:gd name="T32" fmla="*/ 8 w 219"/>
                <a:gd name="T33" fmla="*/ 67 h 217"/>
                <a:gd name="T34" fmla="*/ 26 w 219"/>
                <a:gd name="T35" fmla="*/ 38 h 217"/>
                <a:gd name="T36" fmla="*/ 52 w 219"/>
                <a:gd name="T37" fmla="*/ 15 h 217"/>
                <a:gd name="T38" fmla="*/ 83 w 219"/>
                <a:gd name="T39" fmla="*/ 3 h 217"/>
                <a:gd name="T40" fmla="*/ 118 w 219"/>
                <a:gd name="T41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7">
                  <a:moveTo>
                    <a:pt x="118" y="0"/>
                  </a:moveTo>
                  <a:lnTo>
                    <a:pt x="153" y="9"/>
                  </a:lnTo>
                  <a:lnTo>
                    <a:pt x="181" y="26"/>
                  </a:lnTo>
                  <a:lnTo>
                    <a:pt x="204" y="52"/>
                  </a:lnTo>
                  <a:lnTo>
                    <a:pt x="216" y="81"/>
                  </a:lnTo>
                  <a:lnTo>
                    <a:pt x="219" y="116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8" y="214"/>
                  </a:lnTo>
                  <a:lnTo>
                    <a:pt x="103" y="217"/>
                  </a:lnTo>
                  <a:lnTo>
                    <a:pt x="69" y="211"/>
                  </a:lnTo>
                  <a:lnTo>
                    <a:pt x="40" y="194"/>
                  </a:lnTo>
                  <a:lnTo>
                    <a:pt x="17" y="168"/>
                  </a:lnTo>
                  <a:lnTo>
                    <a:pt x="5" y="136"/>
                  </a:lnTo>
                  <a:lnTo>
                    <a:pt x="0" y="101"/>
                  </a:lnTo>
                  <a:lnTo>
                    <a:pt x="8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6" name="Freeform 84">
              <a:extLst>
                <a:ext uri="{FF2B5EF4-FFF2-40B4-BE49-F238E27FC236}">
                  <a16:creationId xmlns:a16="http://schemas.microsoft.com/office/drawing/2014/main" id="{CEE5D2EA-5F6A-48A5-9E86-9907767D64B0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597794" y="3069948"/>
              <a:ext cx="175213" cy="172813"/>
            </a:xfrm>
            <a:custGeom>
              <a:avLst/>
              <a:gdLst>
                <a:gd name="T0" fmla="*/ 115 w 219"/>
                <a:gd name="T1" fmla="*/ 0 h 216"/>
                <a:gd name="T2" fmla="*/ 150 w 219"/>
                <a:gd name="T3" fmla="*/ 6 h 216"/>
                <a:gd name="T4" fmla="*/ 179 w 219"/>
                <a:gd name="T5" fmla="*/ 26 h 216"/>
                <a:gd name="T6" fmla="*/ 202 w 219"/>
                <a:gd name="T7" fmla="*/ 52 h 216"/>
                <a:gd name="T8" fmla="*/ 213 w 219"/>
                <a:gd name="T9" fmla="*/ 81 h 216"/>
                <a:gd name="T10" fmla="*/ 219 w 219"/>
                <a:gd name="T11" fmla="*/ 115 h 216"/>
                <a:gd name="T12" fmla="*/ 210 w 219"/>
                <a:gd name="T13" fmla="*/ 150 h 216"/>
                <a:gd name="T14" fmla="*/ 190 w 219"/>
                <a:gd name="T15" fmla="*/ 179 h 216"/>
                <a:gd name="T16" fmla="*/ 167 w 219"/>
                <a:gd name="T17" fmla="*/ 202 h 216"/>
                <a:gd name="T18" fmla="*/ 135 w 219"/>
                <a:gd name="T19" fmla="*/ 213 h 216"/>
                <a:gd name="T20" fmla="*/ 101 w 219"/>
                <a:gd name="T21" fmla="*/ 216 h 216"/>
                <a:gd name="T22" fmla="*/ 69 w 219"/>
                <a:gd name="T23" fmla="*/ 210 h 216"/>
                <a:gd name="T24" fmla="*/ 37 w 219"/>
                <a:gd name="T25" fmla="*/ 190 h 216"/>
                <a:gd name="T26" fmla="*/ 14 w 219"/>
                <a:gd name="T27" fmla="*/ 164 h 216"/>
                <a:gd name="T28" fmla="*/ 3 w 219"/>
                <a:gd name="T29" fmla="*/ 135 h 216"/>
                <a:gd name="T30" fmla="*/ 0 w 219"/>
                <a:gd name="T31" fmla="*/ 101 h 216"/>
                <a:gd name="T32" fmla="*/ 9 w 219"/>
                <a:gd name="T33" fmla="*/ 66 h 216"/>
                <a:gd name="T34" fmla="*/ 26 w 219"/>
                <a:gd name="T35" fmla="*/ 37 h 216"/>
                <a:gd name="T36" fmla="*/ 52 w 219"/>
                <a:gd name="T37" fmla="*/ 14 h 216"/>
                <a:gd name="T38" fmla="*/ 81 w 219"/>
                <a:gd name="T39" fmla="*/ 3 h 216"/>
                <a:gd name="T40" fmla="*/ 115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5" y="0"/>
                  </a:moveTo>
                  <a:lnTo>
                    <a:pt x="150" y="6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3" y="81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0" y="179"/>
                  </a:lnTo>
                  <a:lnTo>
                    <a:pt x="167" y="202"/>
                  </a:lnTo>
                  <a:lnTo>
                    <a:pt x="135" y="213"/>
                  </a:lnTo>
                  <a:lnTo>
                    <a:pt x="101" y="216"/>
                  </a:lnTo>
                  <a:lnTo>
                    <a:pt x="69" y="210"/>
                  </a:lnTo>
                  <a:lnTo>
                    <a:pt x="37" y="190"/>
                  </a:lnTo>
                  <a:lnTo>
                    <a:pt x="14" y="164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9" y="66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7" name="Freeform 85">
              <a:extLst>
                <a:ext uri="{FF2B5EF4-FFF2-40B4-BE49-F238E27FC236}">
                  <a16:creationId xmlns:a16="http://schemas.microsoft.com/office/drawing/2014/main" id="{A415AB7D-FB5C-47CB-8699-CFFA34177A6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625797" y="2845931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3 w 219"/>
                <a:gd name="T3" fmla="*/ 8 h 219"/>
                <a:gd name="T4" fmla="*/ 182 w 219"/>
                <a:gd name="T5" fmla="*/ 26 h 219"/>
                <a:gd name="T6" fmla="*/ 205 w 219"/>
                <a:gd name="T7" fmla="*/ 52 h 219"/>
                <a:gd name="T8" fmla="*/ 217 w 219"/>
                <a:gd name="T9" fmla="*/ 83 h 219"/>
                <a:gd name="T10" fmla="*/ 219 w 219"/>
                <a:gd name="T11" fmla="*/ 115 h 219"/>
                <a:gd name="T12" fmla="*/ 214 w 219"/>
                <a:gd name="T13" fmla="*/ 150 h 219"/>
                <a:gd name="T14" fmla="*/ 193 w 219"/>
                <a:gd name="T15" fmla="*/ 178 h 219"/>
                <a:gd name="T16" fmla="*/ 168 w 219"/>
                <a:gd name="T17" fmla="*/ 201 h 219"/>
                <a:gd name="T18" fmla="*/ 139 w 219"/>
                <a:gd name="T19" fmla="*/ 213 h 219"/>
                <a:gd name="T20" fmla="*/ 104 w 219"/>
                <a:gd name="T21" fmla="*/ 219 h 219"/>
                <a:gd name="T22" fmla="*/ 69 w 219"/>
                <a:gd name="T23" fmla="*/ 210 h 219"/>
                <a:gd name="T24" fmla="*/ 41 w 219"/>
                <a:gd name="T25" fmla="*/ 193 h 219"/>
                <a:gd name="T26" fmla="*/ 18 w 219"/>
                <a:gd name="T27" fmla="*/ 167 h 219"/>
                <a:gd name="T28" fmla="*/ 6 w 219"/>
                <a:gd name="T29" fmla="*/ 135 h 219"/>
                <a:gd name="T30" fmla="*/ 0 w 219"/>
                <a:gd name="T31" fmla="*/ 101 h 219"/>
                <a:gd name="T32" fmla="*/ 9 w 219"/>
                <a:gd name="T33" fmla="*/ 66 h 219"/>
                <a:gd name="T34" fmla="*/ 29 w 219"/>
                <a:gd name="T35" fmla="*/ 37 h 219"/>
                <a:gd name="T36" fmla="*/ 52 w 219"/>
                <a:gd name="T37" fmla="*/ 14 h 219"/>
                <a:gd name="T38" fmla="*/ 84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3" y="8"/>
                  </a:lnTo>
                  <a:lnTo>
                    <a:pt x="182" y="26"/>
                  </a:lnTo>
                  <a:lnTo>
                    <a:pt x="205" y="52"/>
                  </a:lnTo>
                  <a:lnTo>
                    <a:pt x="217" y="83"/>
                  </a:lnTo>
                  <a:lnTo>
                    <a:pt x="219" y="115"/>
                  </a:lnTo>
                  <a:lnTo>
                    <a:pt x="214" y="150"/>
                  </a:lnTo>
                  <a:lnTo>
                    <a:pt x="193" y="178"/>
                  </a:lnTo>
                  <a:lnTo>
                    <a:pt x="168" y="201"/>
                  </a:lnTo>
                  <a:lnTo>
                    <a:pt x="139" y="213"/>
                  </a:lnTo>
                  <a:lnTo>
                    <a:pt x="104" y="219"/>
                  </a:lnTo>
                  <a:lnTo>
                    <a:pt x="69" y="210"/>
                  </a:lnTo>
                  <a:lnTo>
                    <a:pt x="41" y="193"/>
                  </a:lnTo>
                  <a:lnTo>
                    <a:pt x="18" y="167"/>
                  </a:lnTo>
                  <a:lnTo>
                    <a:pt x="6" y="135"/>
                  </a:lnTo>
                  <a:lnTo>
                    <a:pt x="0" y="101"/>
                  </a:lnTo>
                  <a:lnTo>
                    <a:pt x="9" y="66"/>
                  </a:lnTo>
                  <a:lnTo>
                    <a:pt x="29" y="37"/>
                  </a:lnTo>
                  <a:lnTo>
                    <a:pt x="52" y="14"/>
                  </a:lnTo>
                  <a:lnTo>
                    <a:pt x="84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8" name="Freeform 86">
              <a:extLst>
                <a:ext uri="{FF2B5EF4-FFF2-40B4-BE49-F238E27FC236}">
                  <a16:creationId xmlns:a16="http://schemas.microsoft.com/office/drawing/2014/main" id="{F1627520-717A-4F99-BDEE-8D983A33C1E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556192" y="2599513"/>
              <a:ext cx="110408" cy="108008"/>
            </a:xfrm>
            <a:custGeom>
              <a:avLst/>
              <a:gdLst>
                <a:gd name="T0" fmla="*/ 69 w 138"/>
                <a:gd name="T1" fmla="*/ 0 h 135"/>
                <a:gd name="T2" fmla="*/ 95 w 138"/>
                <a:gd name="T3" fmla="*/ 5 h 135"/>
                <a:gd name="T4" fmla="*/ 118 w 138"/>
                <a:gd name="T5" fmla="*/ 20 h 135"/>
                <a:gd name="T6" fmla="*/ 132 w 138"/>
                <a:gd name="T7" fmla="*/ 43 h 135"/>
                <a:gd name="T8" fmla="*/ 138 w 138"/>
                <a:gd name="T9" fmla="*/ 66 h 135"/>
                <a:gd name="T10" fmla="*/ 132 w 138"/>
                <a:gd name="T11" fmla="*/ 95 h 135"/>
                <a:gd name="T12" fmla="*/ 118 w 138"/>
                <a:gd name="T13" fmla="*/ 118 h 135"/>
                <a:gd name="T14" fmla="*/ 95 w 138"/>
                <a:gd name="T15" fmla="*/ 132 h 135"/>
                <a:gd name="T16" fmla="*/ 69 w 138"/>
                <a:gd name="T17" fmla="*/ 135 h 135"/>
                <a:gd name="T18" fmla="*/ 43 w 138"/>
                <a:gd name="T19" fmla="*/ 132 h 135"/>
                <a:gd name="T20" fmla="*/ 20 w 138"/>
                <a:gd name="T21" fmla="*/ 118 h 135"/>
                <a:gd name="T22" fmla="*/ 5 w 138"/>
                <a:gd name="T23" fmla="*/ 95 h 135"/>
                <a:gd name="T24" fmla="*/ 0 w 138"/>
                <a:gd name="T25" fmla="*/ 69 h 135"/>
                <a:gd name="T26" fmla="*/ 5 w 138"/>
                <a:gd name="T27" fmla="*/ 43 h 135"/>
                <a:gd name="T28" fmla="*/ 20 w 138"/>
                <a:gd name="T29" fmla="*/ 20 h 135"/>
                <a:gd name="T30" fmla="*/ 43 w 138"/>
                <a:gd name="T31" fmla="*/ 5 h 135"/>
                <a:gd name="T32" fmla="*/ 69 w 138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5">
                  <a:moveTo>
                    <a:pt x="69" y="0"/>
                  </a:moveTo>
                  <a:lnTo>
                    <a:pt x="95" y="5"/>
                  </a:lnTo>
                  <a:lnTo>
                    <a:pt x="118" y="20"/>
                  </a:lnTo>
                  <a:lnTo>
                    <a:pt x="132" y="43"/>
                  </a:lnTo>
                  <a:lnTo>
                    <a:pt x="138" y="66"/>
                  </a:lnTo>
                  <a:lnTo>
                    <a:pt x="132" y="95"/>
                  </a:lnTo>
                  <a:lnTo>
                    <a:pt x="118" y="118"/>
                  </a:lnTo>
                  <a:lnTo>
                    <a:pt x="95" y="132"/>
                  </a:lnTo>
                  <a:lnTo>
                    <a:pt x="69" y="135"/>
                  </a:lnTo>
                  <a:lnTo>
                    <a:pt x="43" y="132"/>
                  </a:lnTo>
                  <a:lnTo>
                    <a:pt x="20" y="118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3"/>
                  </a:lnTo>
                  <a:lnTo>
                    <a:pt x="20" y="20"/>
                  </a:lnTo>
                  <a:lnTo>
                    <a:pt x="43" y="5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9" name="Freeform 87">
              <a:extLst>
                <a:ext uri="{FF2B5EF4-FFF2-40B4-BE49-F238E27FC236}">
                  <a16:creationId xmlns:a16="http://schemas.microsoft.com/office/drawing/2014/main" id="{097A4C8D-7CBD-4DD0-90C0-4406B11E593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657799" y="2398699"/>
              <a:ext cx="108008" cy="108808"/>
            </a:xfrm>
            <a:custGeom>
              <a:avLst/>
              <a:gdLst>
                <a:gd name="T0" fmla="*/ 66 w 135"/>
                <a:gd name="T1" fmla="*/ 0 h 136"/>
                <a:gd name="T2" fmla="*/ 92 w 135"/>
                <a:gd name="T3" fmla="*/ 6 h 136"/>
                <a:gd name="T4" fmla="*/ 115 w 135"/>
                <a:gd name="T5" fmla="*/ 21 h 136"/>
                <a:gd name="T6" fmla="*/ 129 w 135"/>
                <a:gd name="T7" fmla="*/ 44 h 136"/>
                <a:gd name="T8" fmla="*/ 135 w 135"/>
                <a:gd name="T9" fmla="*/ 67 h 136"/>
                <a:gd name="T10" fmla="*/ 129 w 135"/>
                <a:gd name="T11" fmla="*/ 96 h 136"/>
                <a:gd name="T12" fmla="*/ 115 w 135"/>
                <a:gd name="T13" fmla="*/ 116 h 136"/>
                <a:gd name="T14" fmla="*/ 95 w 135"/>
                <a:gd name="T15" fmla="*/ 130 h 136"/>
                <a:gd name="T16" fmla="*/ 69 w 135"/>
                <a:gd name="T17" fmla="*/ 136 h 136"/>
                <a:gd name="T18" fmla="*/ 43 w 135"/>
                <a:gd name="T19" fmla="*/ 133 h 136"/>
                <a:gd name="T20" fmla="*/ 20 w 135"/>
                <a:gd name="T21" fmla="*/ 116 h 136"/>
                <a:gd name="T22" fmla="*/ 5 w 135"/>
                <a:gd name="T23" fmla="*/ 96 h 136"/>
                <a:gd name="T24" fmla="*/ 0 w 135"/>
                <a:gd name="T25" fmla="*/ 70 h 136"/>
                <a:gd name="T26" fmla="*/ 2 w 135"/>
                <a:gd name="T27" fmla="*/ 44 h 136"/>
                <a:gd name="T28" fmla="*/ 20 w 135"/>
                <a:gd name="T29" fmla="*/ 21 h 136"/>
                <a:gd name="T30" fmla="*/ 40 w 135"/>
                <a:gd name="T31" fmla="*/ 6 h 136"/>
                <a:gd name="T32" fmla="*/ 66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6" y="0"/>
                  </a:moveTo>
                  <a:lnTo>
                    <a:pt x="92" y="6"/>
                  </a:lnTo>
                  <a:lnTo>
                    <a:pt x="115" y="21"/>
                  </a:lnTo>
                  <a:lnTo>
                    <a:pt x="129" y="44"/>
                  </a:lnTo>
                  <a:lnTo>
                    <a:pt x="135" y="67"/>
                  </a:lnTo>
                  <a:lnTo>
                    <a:pt x="129" y="96"/>
                  </a:lnTo>
                  <a:lnTo>
                    <a:pt x="115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3"/>
                  </a:lnTo>
                  <a:lnTo>
                    <a:pt x="20" y="116"/>
                  </a:lnTo>
                  <a:lnTo>
                    <a:pt x="5" y="96"/>
                  </a:lnTo>
                  <a:lnTo>
                    <a:pt x="0" y="70"/>
                  </a:lnTo>
                  <a:lnTo>
                    <a:pt x="2" y="44"/>
                  </a:lnTo>
                  <a:lnTo>
                    <a:pt x="20" y="21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0" name="Freeform 88">
              <a:extLst>
                <a:ext uri="{FF2B5EF4-FFF2-40B4-BE49-F238E27FC236}">
                  <a16:creationId xmlns:a16="http://schemas.microsoft.com/office/drawing/2014/main" id="{11718231-3D28-45D6-8461-1066B6296A9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786608" y="2216286"/>
              <a:ext cx="111208" cy="108808"/>
            </a:xfrm>
            <a:custGeom>
              <a:avLst/>
              <a:gdLst>
                <a:gd name="T0" fmla="*/ 69 w 139"/>
                <a:gd name="T1" fmla="*/ 0 h 136"/>
                <a:gd name="T2" fmla="*/ 95 w 139"/>
                <a:gd name="T3" fmla="*/ 6 h 136"/>
                <a:gd name="T4" fmla="*/ 118 w 139"/>
                <a:gd name="T5" fmla="*/ 20 h 136"/>
                <a:gd name="T6" fmla="*/ 133 w 139"/>
                <a:gd name="T7" fmla="*/ 40 h 136"/>
                <a:gd name="T8" fmla="*/ 139 w 139"/>
                <a:gd name="T9" fmla="*/ 66 h 136"/>
                <a:gd name="T10" fmla="*/ 133 w 139"/>
                <a:gd name="T11" fmla="*/ 95 h 136"/>
                <a:gd name="T12" fmla="*/ 118 w 139"/>
                <a:gd name="T13" fmla="*/ 115 h 136"/>
                <a:gd name="T14" fmla="*/ 95 w 139"/>
                <a:gd name="T15" fmla="*/ 130 h 136"/>
                <a:gd name="T16" fmla="*/ 69 w 139"/>
                <a:gd name="T17" fmla="*/ 136 h 136"/>
                <a:gd name="T18" fmla="*/ 43 w 139"/>
                <a:gd name="T19" fmla="*/ 130 h 136"/>
                <a:gd name="T20" fmla="*/ 20 w 139"/>
                <a:gd name="T21" fmla="*/ 115 h 136"/>
                <a:gd name="T22" fmla="*/ 6 w 139"/>
                <a:gd name="T23" fmla="*/ 95 h 136"/>
                <a:gd name="T24" fmla="*/ 0 w 139"/>
                <a:gd name="T25" fmla="*/ 69 h 136"/>
                <a:gd name="T26" fmla="*/ 6 w 139"/>
                <a:gd name="T27" fmla="*/ 43 h 136"/>
                <a:gd name="T28" fmla="*/ 20 w 139"/>
                <a:gd name="T29" fmla="*/ 20 h 136"/>
                <a:gd name="T30" fmla="*/ 43 w 139"/>
                <a:gd name="T31" fmla="*/ 6 h 136"/>
                <a:gd name="T32" fmla="*/ 69 w 139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6">
                  <a:moveTo>
                    <a:pt x="69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3" y="40"/>
                  </a:lnTo>
                  <a:lnTo>
                    <a:pt x="139" y="66"/>
                  </a:lnTo>
                  <a:lnTo>
                    <a:pt x="133" y="95"/>
                  </a:lnTo>
                  <a:lnTo>
                    <a:pt x="118" y="115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1" name="Freeform 89">
              <a:extLst>
                <a:ext uri="{FF2B5EF4-FFF2-40B4-BE49-F238E27FC236}">
                  <a16:creationId xmlns:a16="http://schemas.microsoft.com/office/drawing/2014/main" id="{AAB69D8E-003F-41D4-BCFD-3FEB7CAA0B2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943419" y="2057874"/>
              <a:ext cx="111208" cy="108008"/>
            </a:xfrm>
            <a:custGeom>
              <a:avLst/>
              <a:gdLst>
                <a:gd name="T0" fmla="*/ 66 w 139"/>
                <a:gd name="T1" fmla="*/ 0 h 135"/>
                <a:gd name="T2" fmla="*/ 95 w 139"/>
                <a:gd name="T3" fmla="*/ 6 h 135"/>
                <a:gd name="T4" fmla="*/ 118 w 139"/>
                <a:gd name="T5" fmla="*/ 20 h 135"/>
                <a:gd name="T6" fmla="*/ 133 w 139"/>
                <a:gd name="T7" fmla="*/ 43 h 135"/>
                <a:gd name="T8" fmla="*/ 139 w 139"/>
                <a:gd name="T9" fmla="*/ 66 h 135"/>
                <a:gd name="T10" fmla="*/ 133 w 139"/>
                <a:gd name="T11" fmla="*/ 95 h 135"/>
                <a:gd name="T12" fmla="*/ 118 w 139"/>
                <a:gd name="T13" fmla="*/ 115 h 135"/>
                <a:gd name="T14" fmla="*/ 95 w 139"/>
                <a:gd name="T15" fmla="*/ 133 h 135"/>
                <a:gd name="T16" fmla="*/ 69 w 139"/>
                <a:gd name="T17" fmla="*/ 135 h 135"/>
                <a:gd name="T18" fmla="*/ 43 w 139"/>
                <a:gd name="T19" fmla="*/ 133 h 135"/>
                <a:gd name="T20" fmla="*/ 20 w 139"/>
                <a:gd name="T21" fmla="*/ 118 h 135"/>
                <a:gd name="T22" fmla="*/ 6 w 139"/>
                <a:gd name="T23" fmla="*/ 95 h 135"/>
                <a:gd name="T24" fmla="*/ 0 w 139"/>
                <a:gd name="T25" fmla="*/ 69 h 135"/>
                <a:gd name="T26" fmla="*/ 6 w 139"/>
                <a:gd name="T27" fmla="*/ 43 h 135"/>
                <a:gd name="T28" fmla="*/ 20 w 139"/>
                <a:gd name="T29" fmla="*/ 20 h 135"/>
                <a:gd name="T30" fmla="*/ 43 w 139"/>
                <a:gd name="T31" fmla="*/ 6 h 135"/>
                <a:gd name="T32" fmla="*/ 66 w 139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5">
                  <a:moveTo>
                    <a:pt x="66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3" y="43"/>
                  </a:lnTo>
                  <a:lnTo>
                    <a:pt x="139" y="66"/>
                  </a:lnTo>
                  <a:lnTo>
                    <a:pt x="133" y="95"/>
                  </a:lnTo>
                  <a:lnTo>
                    <a:pt x="118" y="115"/>
                  </a:lnTo>
                  <a:lnTo>
                    <a:pt x="95" y="133"/>
                  </a:lnTo>
                  <a:lnTo>
                    <a:pt x="69" y="135"/>
                  </a:lnTo>
                  <a:lnTo>
                    <a:pt x="43" y="133"/>
                  </a:lnTo>
                  <a:lnTo>
                    <a:pt x="20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2" name="Freeform 90">
              <a:extLst>
                <a:ext uri="{FF2B5EF4-FFF2-40B4-BE49-F238E27FC236}">
                  <a16:creationId xmlns:a16="http://schemas.microsoft.com/office/drawing/2014/main" id="{4120E403-74B4-4A22-BC50-6BE792FAE95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2002697" y="4554856"/>
              <a:ext cx="110408" cy="110408"/>
            </a:xfrm>
            <a:custGeom>
              <a:avLst/>
              <a:gdLst>
                <a:gd name="T0" fmla="*/ 69 w 138"/>
                <a:gd name="T1" fmla="*/ 0 h 138"/>
                <a:gd name="T2" fmla="*/ 95 w 138"/>
                <a:gd name="T3" fmla="*/ 5 h 138"/>
                <a:gd name="T4" fmla="*/ 118 w 138"/>
                <a:gd name="T5" fmla="*/ 20 h 138"/>
                <a:gd name="T6" fmla="*/ 133 w 138"/>
                <a:gd name="T7" fmla="*/ 43 h 138"/>
                <a:gd name="T8" fmla="*/ 138 w 138"/>
                <a:gd name="T9" fmla="*/ 69 h 138"/>
                <a:gd name="T10" fmla="*/ 133 w 138"/>
                <a:gd name="T11" fmla="*/ 95 h 138"/>
                <a:gd name="T12" fmla="*/ 118 w 138"/>
                <a:gd name="T13" fmla="*/ 118 h 138"/>
                <a:gd name="T14" fmla="*/ 95 w 138"/>
                <a:gd name="T15" fmla="*/ 132 h 138"/>
                <a:gd name="T16" fmla="*/ 69 w 138"/>
                <a:gd name="T17" fmla="*/ 138 h 138"/>
                <a:gd name="T18" fmla="*/ 43 w 138"/>
                <a:gd name="T19" fmla="*/ 132 h 138"/>
                <a:gd name="T20" fmla="*/ 20 w 138"/>
                <a:gd name="T21" fmla="*/ 118 h 138"/>
                <a:gd name="T22" fmla="*/ 6 w 138"/>
                <a:gd name="T23" fmla="*/ 95 h 138"/>
                <a:gd name="T24" fmla="*/ 0 w 138"/>
                <a:gd name="T25" fmla="*/ 69 h 138"/>
                <a:gd name="T26" fmla="*/ 6 w 138"/>
                <a:gd name="T27" fmla="*/ 43 h 138"/>
                <a:gd name="T28" fmla="*/ 20 w 138"/>
                <a:gd name="T29" fmla="*/ 20 h 138"/>
                <a:gd name="T30" fmla="*/ 43 w 138"/>
                <a:gd name="T31" fmla="*/ 5 h 138"/>
                <a:gd name="T32" fmla="*/ 69 w 138"/>
                <a:gd name="T3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8">
                  <a:moveTo>
                    <a:pt x="69" y="0"/>
                  </a:moveTo>
                  <a:lnTo>
                    <a:pt x="95" y="5"/>
                  </a:lnTo>
                  <a:lnTo>
                    <a:pt x="118" y="20"/>
                  </a:lnTo>
                  <a:lnTo>
                    <a:pt x="133" y="43"/>
                  </a:lnTo>
                  <a:lnTo>
                    <a:pt x="138" y="69"/>
                  </a:lnTo>
                  <a:lnTo>
                    <a:pt x="133" y="95"/>
                  </a:lnTo>
                  <a:lnTo>
                    <a:pt x="118" y="118"/>
                  </a:lnTo>
                  <a:lnTo>
                    <a:pt x="95" y="132"/>
                  </a:lnTo>
                  <a:lnTo>
                    <a:pt x="69" y="138"/>
                  </a:lnTo>
                  <a:lnTo>
                    <a:pt x="43" y="132"/>
                  </a:lnTo>
                  <a:lnTo>
                    <a:pt x="20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5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3" name="Freeform 91">
              <a:extLst>
                <a:ext uri="{FF2B5EF4-FFF2-40B4-BE49-F238E27FC236}">
                  <a16:creationId xmlns:a16="http://schemas.microsoft.com/office/drawing/2014/main" id="{7E0E7628-048C-43A8-AE3E-4065B429CDE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778681" y="4557256"/>
              <a:ext cx="108808" cy="108008"/>
            </a:xfrm>
            <a:custGeom>
              <a:avLst/>
              <a:gdLst>
                <a:gd name="T0" fmla="*/ 67 w 136"/>
                <a:gd name="T1" fmla="*/ 0 h 135"/>
                <a:gd name="T2" fmla="*/ 93 w 136"/>
                <a:gd name="T3" fmla="*/ 5 h 135"/>
                <a:gd name="T4" fmla="*/ 116 w 136"/>
                <a:gd name="T5" fmla="*/ 20 h 135"/>
                <a:gd name="T6" fmla="*/ 130 w 136"/>
                <a:gd name="T7" fmla="*/ 40 h 135"/>
                <a:gd name="T8" fmla="*/ 136 w 136"/>
                <a:gd name="T9" fmla="*/ 66 h 135"/>
                <a:gd name="T10" fmla="*/ 130 w 136"/>
                <a:gd name="T11" fmla="*/ 92 h 135"/>
                <a:gd name="T12" fmla="*/ 116 w 136"/>
                <a:gd name="T13" fmla="*/ 115 h 135"/>
                <a:gd name="T14" fmla="*/ 93 w 136"/>
                <a:gd name="T15" fmla="*/ 129 h 135"/>
                <a:gd name="T16" fmla="*/ 70 w 136"/>
                <a:gd name="T17" fmla="*/ 135 h 135"/>
                <a:gd name="T18" fmla="*/ 41 w 136"/>
                <a:gd name="T19" fmla="*/ 129 h 135"/>
                <a:gd name="T20" fmla="*/ 21 w 136"/>
                <a:gd name="T21" fmla="*/ 115 h 135"/>
                <a:gd name="T22" fmla="*/ 6 w 136"/>
                <a:gd name="T23" fmla="*/ 92 h 135"/>
                <a:gd name="T24" fmla="*/ 0 w 136"/>
                <a:gd name="T25" fmla="*/ 69 h 135"/>
                <a:gd name="T26" fmla="*/ 3 w 136"/>
                <a:gd name="T27" fmla="*/ 40 h 135"/>
                <a:gd name="T28" fmla="*/ 18 w 136"/>
                <a:gd name="T29" fmla="*/ 20 h 135"/>
                <a:gd name="T30" fmla="*/ 41 w 136"/>
                <a:gd name="T31" fmla="*/ 5 h 135"/>
                <a:gd name="T32" fmla="*/ 67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7" y="0"/>
                  </a:moveTo>
                  <a:lnTo>
                    <a:pt x="93" y="5"/>
                  </a:lnTo>
                  <a:lnTo>
                    <a:pt x="116" y="20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0" y="92"/>
                  </a:lnTo>
                  <a:lnTo>
                    <a:pt x="116" y="115"/>
                  </a:lnTo>
                  <a:lnTo>
                    <a:pt x="93" y="129"/>
                  </a:lnTo>
                  <a:lnTo>
                    <a:pt x="70" y="135"/>
                  </a:lnTo>
                  <a:lnTo>
                    <a:pt x="41" y="129"/>
                  </a:lnTo>
                  <a:lnTo>
                    <a:pt x="21" y="115"/>
                  </a:lnTo>
                  <a:lnTo>
                    <a:pt x="6" y="92"/>
                  </a:lnTo>
                  <a:lnTo>
                    <a:pt x="0" y="69"/>
                  </a:lnTo>
                  <a:lnTo>
                    <a:pt x="3" y="40"/>
                  </a:lnTo>
                  <a:lnTo>
                    <a:pt x="18" y="20"/>
                  </a:lnTo>
                  <a:lnTo>
                    <a:pt x="41" y="5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4" name="Freeform 92">
              <a:extLst>
                <a:ext uri="{FF2B5EF4-FFF2-40B4-BE49-F238E27FC236}">
                  <a16:creationId xmlns:a16="http://schemas.microsoft.com/office/drawing/2014/main" id="{B214A533-C1B3-4FF2-B7CB-33F5A75F145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557064" y="4524454"/>
              <a:ext cx="108808" cy="108808"/>
            </a:xfrm>
            <a:custGeom>
              <a:avLst/>
              <a:gdLst>
                <a:gd name="T0" fmla="*/ 67 w 136"/>
                <a:gd name="T1" fmla="*/ 0 h 136"/>
                <a:gd name="T2" fmla="*/ 92 w 136"/>
                <a:gd name="T3" fmla="*/ 6 h 136"/>
                <a:gd name="T4" fmla="*/ 116 w 136"/>
                <a:gd name="T5" fmla="*/ 20 h 136"/>
                <a:gd name="T6" fmla="*/ 130 w 136"/>
                <a:gd name="T7" fmla="*/ 43 h 136"/>
                <a:gd name="T8" fmla="*/ 136 w 136"/>
                <a:gd name="T9" fmla="*/ 66 h 136"/>
                <a:gd name="T10" fmla="*/ 130 w 136"/>
                <a:gd name="T11" fmla="*/ 95 h 136"/>
                <a:gd name="T12" fmla="*/ 116 w 136"/>
                <a:gd name="T13" fmla="*/ 115 h 136"/>
                <a:gd name="T14" fmla="*/ 92 w 136"/>
                <a:gd name="T15" fmla="*/ 130 h 136"/>
                <a:gd name="T16" fmla="*/ 69 w 136"/>
                <a:gd name="T17" fmla="*/ 136 h 136"/>
                <a:gd name="T18" fmla="*/ 41 w 136"/>
                <a:gd name="T19" fmla="*/ 133 h 136"/>
                <a:gd name="T20" fmla="*/ 20 w 136"/>
                <a:gd name="T21" fmla="*/ 115 h 136"/>
                <a:gd name="T22" fmla="*/ 3 w 136"/>
                <a:gd name="T23" fmla="*/ 95 h 136"/>
                <a:gd name="T24" fmla="*/ 0 w 136"/>
                <a:gd name="T25" fmla="*/ 69 h 136"/>
                <a:gd name="T26" fmla="*/ 3 w 136"/>
                <a:gd name="T27" fmla="*/ 43 h 136"/>
                <a:gd name="T28" fmla="*/ 18 w 136"/>
                <a:gd name="T29" fmla="*/ 20 h 136"/>
                <a:gd name="T30" fmla="*/ 41 w 136"/>
                <a:gd name="T31" fmla="*/ 6 h 136"/>
                <a:gd name="T32" fmla="*/ 67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7" y="0"/>
                  </a:moveTo>
                  <a:lnTo>
                    <a:pt x="92" y="6"/>
                  </a:lnTo>
                  <a:lnTo>
                    <a:pt x="116" y="20"/>
                  </a:lnTo>
                  <a:lnTo>
                    <a:pt x="130" y="43"/>
                  </a:lnTo>
                  <a:lnTo>
                    <a:pt x="136" y="66"/>
                  </a:lnTo>
                  <a:lnTo>
                    <a:pt x="130" y="95"/>
                  </a:lnTo>
                  <a:lnTo>
                    <a:pt x="116" y="115"/>
                  </a:lnTo>
                  <a:lnTo>
                    <a:pt x="92" y="130"/>
                  </a:lnTo>
                  <a:lnTo>
                    <a:pt x="69" y="136"/>
                  </a:lnTo>
                  <a:lnTo>
                    <a:pt x="41" y="133"/>
                  </a:lnTo>
                  <a:lnTo>
                    <a:pt x="20" y="115"/>
                  </a:lnTo>
                  <a:lnTo>
                    <a:pt x="3" y="95"/>
                  </a:lnTo>
                  <a:lnTo>
                    <a:pt x="0" y="69"/>
                  </a:lnTo>
                  <a:lnTo>
                    <a:pt x="3" y="43"/>
                  </a:lnTo>
                  <a:lnTo>
                    <a:pt x="18" y="20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5" name="Freeform 93">
              <a:extLst>
                <a:ext uri="{FF2B5EF4-FFF2-40B4-BE49-F238E27FC236}">
                  <a16:creationId xmlns:a16="http://schemas.microsoft.com/office/drawing/2014/main" id="{EC25EDAE-B365-4C53-BB8D-683CEC16109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345049" y="4455649"/>
              <a:ext cx="108808" cy="110408"/>
            </a:xfrm>
            <a:custGeom>
              <a:avLst/>
              <a:gdLst>
                <a:gd name="T0" fmla="*/ 67 w 136"/>
                <a:gd name="T1" fmla="*/ 0 h 138"/>
                <a:gd name="T2" fmla="*/ 96 w 136"/>
                <a:gd name="T3" fmla="*/ 5 h 138"/>
                <a:gd name="T4" fmla="*/ 116 w 136"/>
                <a:gd name="T5" fmla="*/ 20 h 138"/>
                <a:gd name="T6" fmla="*/ 130 w 136"/>
                <a:gd name="T7" fmla="*/ 43 h 138"/>
                <a:gd name="T8" fmla="*/ 136 w 136"/>
                <a:gd name="T9" fmla="*/ 69 h 138"/>
                <a:gd name="T10" fmla="*/ 133 w 136"/>
                <a:gd name="T11" fmla="*/ 95 h 138"/>
                <a:gd name="T12" fmla="*/ 119 w 136"/>
                <a:gd name="T13" fmla="*/ 118 h 138"/>
                <a:gd name="T14" fmla="*/ 96 w 136"/>
                <a:gd name="T15" fmla="*/ 132 h 138"/>
                <a:gd name="T16" fmla="*/ 70 w 136"/>
                <a:gd name="T17" fmla="*/ 138 h 138"/>
                <a:gd name="T18" fmla="*/ 44 w 136"/>
                <a:gd name="T19" fmla="*/ 132 h 138"/>
                <a:gd name="T20" fmla="*/ 21 w 136"/>
                <a:gd name="T21" fmla="*/ 118 h 138"/>
                <a:gd name="T22" fmla="*/ 6 w 136"/>
                <a:gd name="T23" fmla="*/ 95 h 138"/>
                <a:gd name="T24" fmla="*/ 0 w 136"/>
                <a:gd name="T25" fmla="*/ 69 h 138"/>
                <a:gd name="T26" fmla="*/ 6 w 136"/>
                <a:gd name="T27" fmla="*/ 43 h 138"/>
                <a:gd name="T28" fmla="*/ 21 w 136"/>
                <a:gd name="T29" fmla="*/ 20 h 138"/>
                <a:gd name="T30" fmla="*/ 44 w 136"/>
                <a:gd name="T31" fmla="*/ 5 h 138"/>
                <a:gd name="T32" fmla="*/ 67 w 136"/>
                <a:gd name="T3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8">
                  <a:moveTo>
                    <a:pt x="67" y="0"/>
                  </a:moveTo>
                  <a:lnTo>
                    <a:pt x="96" y="5"/>
                  </a:lnTo>
                  <a:lnTo>
                    <a:pt x="116" y="20"/>
                  </a:lnTo>
                  <a:lnTo>
                    <a:pt x="130" y="43"/>
                  </a:lnTo>
                  <a:lnTo>
                    <a:pt x="136" y="69"/>
                  </a:lnTo>
                  <a:lnTo>
                    <a:pt x="133" y="95"/>
                  </a:lnTo>
                  <a:lnTo>
                    <a:pt x="119" y="118"/>
                  </a:lnTo>
                  <a:lnTo>
                    <a:pt x="96" y="132"/>
                  </a:lnTo>
                  <a:lnTo>
                    <a:pt x="70" y="138"/>
                  </a:lnTo>
                  <a:lnTo>
                    <a:pt x="44" y="132"/>
                  </a:lnTo>
                  <a:lnTo>
                    <a:pt x="21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1" y="20"/>
                  </a:lnTo>
                  <a:lnTo>
                    <a:pt x="44" y="5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6" name="Freeform 94">
              <a:extLst>
                <a:ext uri="{FF2B5EF4-FFF2-40B4-BE49-F238E27FC236}">
                  <a16:creationId xmlns:a16="http://schemas.microsoft.com/office/drawing/2014/main" id="{39FF545D-F18F-436B-B703-E98F28077EA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144234" y="4356442"/>
              <a:ext cx="108808" cy="108808"/>
            </a:xfrm>
            <a:custGeom>
              <a:avLst/>
              <a:gdLst>
                <a:gd name="T0" fmla="*/ 67 w 136"/>
                <a:gd name="T1" fmla="*/ 0 h 136"/>
                <a:gd name="T2" fmla="*/ 93 w 136"/>
                <a:gd name="T3" fmla="*/ 6 h 136"/>
                <a:gd name="T4" fmla="*/ 116 w 136"/>
                <a:gd name="T5" fmla="*/ 21 h 136"/>
                <a:gd name="T6" fmla="*/ 130 w 136"/>
                <a:gd name="T7" fmla="*/ 41 h 136"/>
                <a:gd name="T8" fmla="*/ 136 w 136"/>
                <a:gd name="T9" fmla="*/ 67 h 136"/>
                <a:gd name="T10" fmla="*/ 130 w 136"/>
                <a:gd name="T11" fmla="*/ 93 h 136"/>
                <a:gd name="T12" fmla="*/ 116 w 136"/>
                <a:gd name="T13" fmla="*/ 116 h 136"/>
                <a:gd name="T14" fmla="*/ 95 w 136"/>
                <a:gd name="T15" fmla="*/ 130 h 136"/>
                <a:gd name="T16" fmla="*/ 69 w 136"/>
                <a:gd name="T17" fmla="*/ 136 h 136"/>
                <a:gd name="T18" fmla="*/ 44 w 136"/>
                <a:gd name="T19" fmla="*/ 130 h 136"/>
                <a:gd name="T20" fmla="*/ 20 w 136"/>
                <a:gd name="T21" fmla="*/ 116 h 136"/>
                <a:gd name="T22" fmla="*/ 6 w 136"/>
                <a:gd name="T23" fmla="*/ 96 h 136"/>
                <a:gd name="T24" fmla="*/ 0 w 136"/>
                <a:gd name="T25" fmla="*/ 70 h 136"/>
                <a:gd name="T26" fmla="*/ 6 w 136"/>
                <a:gd name="T27" fmla="*/ 44 h 136"/>
                <a:gd name="T28" fmla="*/ 20 w 136"/>
                <a:gd name="T29" fmla="*/ 21 h 136"/>
                <a:gd name="T30" fmla="*/ 41 w 136"/>
                <a:gd name="T31" fmla="*/ 6 h 136"/>
                <a:gd name="T32" fmla="*/ 67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7" y="0"/>
                  </a:moveTo>
                  <a:lnTo>
                    <a:pt x="93" y="6"/>
                  </a:lnTo>
                  <a:lnTo>
                    <a:pt x="116" y="21"/>
                  </a:lnTo>
                  <a:lnTo>
                    <a:pt x="130" y="41"/>
                  </a:lnTo>
                  <a:lnTo>
                    <a:pt x="136" y="67"/>
                  </a:lnTo>
                  <a:lnTo>
                    <a:pt x="130" y="93"/>
                  </a:lnTo>
                  <a:lnTo>
                    <a:pt x="116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4" y="130"/>
                  </a:lnTo>
                  <a:lnTo>
                    <a:pt x="20" y="116"/>
                  </a:lnTo>
                  <a:lnTo>
                    <a:pt x="6" y="96"/>
                  </a:lnTo>
                  <a:lnTo>
                    <a:pt x="0" y="70"/>
                  </a:lnTo>
                  <a:lnTo>
                    <a:pt x="6" y="44"/>
                  </a:lnTo>
                  <a:lnTo>
                    <a:pt x="20" y="21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7" name="Freeform 95">
              <a:extLst>
                <a:ext uri="{FF2B5EF4-FFF2-40B4-BE49-F238E27FC236}">
                  <a16:creationId xmlns:a16="http://schemas.microsoft.com/office/drawing/2014/main" id="{8DBB3B4C-88FC-4F55-9A47-96E35E3230A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961821" y="4227632"/>
              <a:ext cx="108808" cy="108008"/>
            </a:xfrm>
            <a:custGeom>
              <a:avLst/>
              <a:gdLst>
                <a:gd name="T0" fmla="*/ 66 w 136"/>
                <a:gd name="T1" fmla="*/ 0 h 135"/>
                <a:gd name="T2" fmla="*/ 92 w 136"/>
                <a:gd name="T3" fmla="*/ 6 h 135"/>
                <a:gd name="T4" fmla="*/ 115 w 136"/>
                <a:gd name="T5" fmla="*/ 20 h 135"/>
                <a:gd name="T6" fmla="*/ 130 w 136"/>
                <a:gd name="T7" fmla="*/ 43 h 135"/>
                <a:gd name="T8" fmla="*/ 136 w 136"/>
                <a:gd name="T9" fmla="*/ 66 h 135"/>
                <a:gd name="T10" fmla="*/ 130 w 136"/>
                <a:gd name="T11" fmla="*/ 95 h 135"/>
                <a:gd name="T12" fmla="*/ 115 w 136"/>
                <a:gd name="T13" fmla="*/ 115 h 135"/>
                <a:gd name="T14" fmla="*/ 95 w 136"/>
                <a:gd name="T15" fmla="*/ 132 h 135"/>
                <a:gd name="T16" fmla="*/ 69 w 136"/>
                <a:gd name="T17" fmla="*/ 135 h 135"/>
                <a:gd name="T18" fmla="*/ 43 w 136"/>
                <a:gd name="T19" fmla="*/ 132 h 135"/>
                <a:gd name="T20" fmla="*/ 20 w 136"/>
                <a:gd name="T21" fmla="*/ 115 h 135"/>
                <a:gd name="T22" fmla="*/ 6 w 136"/>
                <a:gd name="T23" fmla="*/ 95 h 135"/>
                <a:gd name="T24" fmla="*/ 0 w 136"/>
                <a:gd name="T25" fmla="*/ 69 h 135"/>
                <a:gd name="T26" fmla="*/ 6 w 136"/>
                <a:gd name="T27" fmla="*/ 43 h 135"/>
                <a:gd name="T28" fmla="*/ 20 w 136"/>
                <a:gd name="T29" fmla="*/ 20 h 135"/>
                <a:gd name="T30" fmla="*/ 40 w 136"/>
                <a:gd name="T31" fmla="*/ 6 h 135"/>
                <a:gd name="T32" fmla="*/ 66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6" y="0"/>
                  </a:moveTo>
                  <a:lnTo>
                    <a:pt x="92" y="6"/>
                  </a:lnTo>
                  <a:lnTo>
                    <a:pt x="115" y="20"/>
                  </a:lnTo>
                  <a:lnTo>
                    <a:pt x="130" y="43"/>
                  </a:lnTo>
                  <a:lnTo>
                    <a:pt x="136" y="66"/>
                  </a:lnTo>
                  <a:lnTo>
                    <a:pt x="130" y="95"/>
                  </a:lnTo>
                  <a:lnTo>
                    <a:pt x="115" y="115"/>
                  </a:lnTo>
                  <a:lnTo>
                    <a:pt x="95" y="132"/>
                  </a:lnTo>
                  <a:lnTo>
                    <a:pt x="69" y="135"/>
                  </a:lnTo>
                  <a:lnTo>
                    <a:pt x="43" y="132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8" name="Freeform 96">
              <a:extLst>
                <a:ext uri="{FF2B5EF4-FFF2-40B4-BE49-F238E27FC236}">
                  <a16:creationId xmlns:a16="http://schemas.microsoft.com/office/drawing/2014/main" id="{89B658C4-D832-4A75-A973-E27B076E722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392179" y="2532309"/>
              <a:ext cx="108808" cy="108808"/>
            </a:xfrm>
            <a:custGeom>
              <a:avLst/>
              <a:gdLst>
                <a:gd name="T0" fmla="*/ 66 w 136"/>
                <a:gd name="T1" fmla="*/ 0 h 136"/>
                <a:gd name="T2" fmla="*/ 92 w 136"/>
                <a:gd name="T3" fmla="*/ 6 h 136"/>
                <a:gd name="T4" fmla="*/ 115 w 136"/>
                <a:gd name="T5" fmla="*/ 20 h 136"/>
                <a:gd name="T6" fmla="*/ 130 w 136"/>
                <a:gd name="T7" fmla="*/ 43 h 136"/>
                <a:gd name="T8" fmla="*/ 136 w 136"/>
                <a:gd name="T9" fmla="*/ 67 h 136"/>
                <a:gd name="T10" fmla="*/ 130 w 136"/>
                <a:gd name="T11" fmla="*/ 95 h 136"/>
                <a:gd name="T12" fmla="*/ 115 w 136"/>
                <a:gd name="T13" fmla="*/ 116 h 136"/>
                <a:gd name="T14" fmla="*/ 95 w 136"/>
                <a:gd name="T15" fmla="*/ 130 h 136"/>
                <a:gd name="T16" fmla="*/ 69 w 136"/>
                <a:gd name="T17" fmla="*/ 136 h 136"/>
                <a:gd name="T18" fmla="*/ 43 w 136"/>
                <a:gd name="T19" fmla="*/ 133 h 136"/>
                <a:gd name="T20" fmla="*/ 20 w 136"/>
                <a:gd name="T21" fmla="*/ 118 h 136"/>
                <a:gd name="T22" fmla="*/ 6 w 136"/>
                <a:gd name="T23" fmla="*/ 95 h 136"/>
                <a:gd name="T24" fmla="*/ 0 w 136"/>
                <a:gd name="T25" fmla="*/ 69 h 136"/>
                <a:gd name="T26" fmla="*/ 6 w 136"/>
                <a:gd name="T27" fmla="*/ 43 h 136"/>
                <a:gd name="T28" fmla="*/ 20 w 136"/>
                <a:gd name="T29" fmla="*/ 20 h 136"/>
                <a:gd name="T30" fmla="*/ 40 w 136"/>
                <a:gd name="T31" fmla="*/ 6 h 136"/>
                <a:gd name="T32" fmla="*/ 66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6" y="0"/>
                  </a:moveTo>
                  <a:lnTo>
                    <a:pt x="92" y="6"/>
                  </a:lnTo>
                  <a:lnTo>
                    <a:pt x="115" y="20"/>
                  </a:lnTo>
                  <a:lnTo>
                    <a:pt x="130" y="43"/>
                  </a:lnTo>
                  <a:lnTo>
                    <a:pt x="136" y="67"/>
                  </a:lnTo>
                  <a:lnTo>
                    <a:pt x="130" y="95"/>
                  </a:lnTo>
                  <a:lnTo>
                    <a:pt x="115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3"/>
                  </a:lnTo>
                  <a:lnTo>
                    <a:pt x="20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9" name="Freeform 97">
              <a:extLst>
                <a:ext uri="{FF2B5EF4-FFF2-40B4-BE49-F238E27FC236}">
                  <a16:creationId xmlns:a16="http://schemas.microsoft.com/office/drawing/2014/main" id="{33378239-E8B2-42C0-A012-7C32C0D1850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489787" y="2329894"/>
              <a:ext cx="110408" cy="110408"/>
            </a:xfrm>
            <a:custGeom>
              <a:avLst/>
              <a:gdLst>
                <a:gd name="T0" fmla="*/ 69 w 138"/>
                <a:gd name="T1" fmla="*/ 0 h 138"/>
                <a:gd name="T2" fmla="*/ 95 w 138"/>
                <a:gd name="T3" fmla="*/ 6 h 138"/>
                <a:gd name="T4" fmla="*/ 118 w 138"/>
                <a:gd name="T5" fmla="*/ 20 h 138"/>
                <a:gd name="T6" fmla="*/ 133 w 138"/>
                <a:gd name="T7" fmla="*/ 43 h 138"/>
                <a:gd name="T8" fmla="*/ 138 w 138"/>
                <a:gd name="T9" fmla="*/ 69 h 138"/>
                <a:gd name="T10" fmla="*/ 133 w 138"/>
                <a:gd name="T11" fmla="*/ 95 h 138"/>
                <a:gd name="T12" fmla="*/ 118 w 138"/>
                <a:gd name="T13" fmla="*/ 118 h 138"/>
                <a:gd name="T14" fmla="*/ 95 w 138"/>
                <a:gd name="T15" fmla="*/ 133 h 138"/>
                <a:gd name="T16" fmla="*/ 69 w 138"/>
                <a:gd name="T17" fmla="*/ 138 h 138"/>
                <a:gd name="T18" fmla="*/ 43 w 138"/>
                <a:gd name="T19" fmla="*/ 133 h 138"/>
                <a:gd name="T20" fmla="*/ 20 w 138"/>
                <a:gd name="T21" fmla="*/ 118 h 138"/>
                <a:gd name="T22" fmla="*/ 6 w 138"/>
                <a:gd name="T23" fmla="*/ 95 h 138"/>
                <a:gd name="T24" fmla="*/ 0 w 138"/>
                <a:gd name="T25" fmla="*/ 69 h 138"/>
                <a:gd name="T26" fmla="*/ 6 w 138"/>
                <a:gd name="T27" fmla="*/ 43 h 138"/>
                <a:gd name="T28" fmla="*/ 20 w 138"/>
                <a:gd name="T29" fmla="*/ 20 h 138"/>
                <a:gd name="T30" fmla="*/ 43 w 138"/>
                <a:gd name="T31" fmla="*/ 6 h 138"/>
                <a:gd name="T32" fmla="*/ 69 w 138"/>
                <a:gd name="T3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8">
                  <a:moveTo>
                    <a:pt x="69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3" y="43"/>
                  </a:lnTo>
                  <a:lnTo>
                    <a:pt x="138" y="69"/>
                  </a:lnTo>
                  <a:lnTo>
                    <a:pt x="133" y="95"/>
                  </a:lnTo>
                  <a:lnTo>
                    <a:pt x="118" y="118"/>
                  </a:lnTo>
                  <a:lnTo>
                    <a:pt x="95" y="133"/>
                  </a:lnTo>
                  <a:lnTo>
                    <a:pt x="69" y="138"/>
                  </a:lnTo>
                  <a:lnTo>
                    <a:pt x="43" y="133"/>
                  </a:lnTo>
                  <a:lnTo>
                    <a:pt x="20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0" name="Freeform 98">
              <a:extLst>
                <a:ext uri="{FF2B5EF4-FFF2-40B4-BE49-F238E27FC236}">
                  <a16:creationId xmlns:a16="http://schemas.microsoft.com/office/drawing/2014/main" id="{6FB0561B-4D0A-4771-B7CF-56CF47AF19B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616196" y="2145081"/>
              <a:ext cx="108808" cy="108808"/>
            </a:xfrm>
            <a:custGeom>
              <a:avLst/>
              <a:gdLst>
                <a:gd name="T0" fmla="*/ 67 w 136"/>
                <a:gd name="T1" fmla="*/ 0 h 136"/>
                <a:gd name="T2" fmla="*/ 93 w 136"/>
                <a:gd name="T3" fmla="*/ 6 h 136"/>
                <a:gd name="T4" fmla="*/ 116 w 136"/>
                <a:gd name="T5" fmla="*/ 21 h 136"/>
                <a:gd name="T6" fmla="*/ 130 w 136"/>
                <a:gd name="T7" fmla="*/ 41 h 136"/>
                <a:gd name="T8" fmla="*/ 136 w 136"/>
                <a:gd name="T9" fmla="*/ 67 h 136"/>
                <a:gd name="T10" fmla="*/ 130 w 136"/>
                <a:gd name="T11" fmla="*/ 93 h 136"/>
                <a:gd name="T12" fmla="*/ 116 w 136"/>
                <a:gd name="T13" fmla="*/ 116 h 136"/>
                <a:gd name="T14" fmla="*/ 96 w 136"/>
                <a:gd name="T15" fmla="*/ 130 h 136"/>
                <a:gd name="T16" fmla="*/ 70 w 136"/>
                <a:gd name="T17" fmla="*/ 136 h 136"/>
                <a:gd name="T18" fmla="*/ 44 w 136"/>
                <a:gd name="T19" fmla="*/ 130 h 136"/>
                <a:gd name="T20" fmla="*/ 21 w 136"/>
                <a:gd name="T21" fmla="*/ 116 h 136"/>
                <a:gd name="T22" fmla="*/ 6 w 136"/>
                <a:gd name="T23" fmla="*/ 96 h 136"/>
                <a:gd name="T24" fmla="*/ 0 w 136"/>
                <a:gd name="T25" fmla="*/ 70 h 136"/>
                <a:gd name="T26" fmla="*/ 6 w 136"/>
                <a:gd name="T27" fmla="*/ 44 h 136"/>
                <a:gd name="T28" fmla="*/ 21 w 136"/>
                <a:gd name="T29" fmla="*/ 21 h 136"/>
                <a:gd name="T30" fmla="*/ 41 w 136"/>
                <a:gd name="T31" fmla="*/ 6 h 136"/>
                <a:gd name="T32" fmla="*/ 67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7" y="0"/>
                  </a:moveTo>
                  <a:lnTo>
                    <a:pt x="93" y="6"/>
                  </a:lnTo>
                  <a:lnTo>
                    <a:pt x="116" y="21"/>
                  </a:lnTo>
                  <a:lnTo>
                    <a:pt x="130" y="41"/>
                  </a:lnTo>
                  <a:lnTo>
                    <a:pt x="136" y="67"/>
                  </a:lnTo>
                  <a:lnTo>
                    <a:pt x="130" y="93"/>
                  </a:lnTo>
                  <a:lnTo>
                    <a:pt x="116" y="116"/>
                  </a:lnTo>
                  <a:lnTo>
                    <a:pt x="96" y="130"/>
                  </a:lnTo>
                  <a:lnTo>
                    <a:pt x="70" y="136"/>
                  </a:lnTo>
                  <a:lnTo>
                    <a:pt x="44" y="130"/>
                  </a:lnTo>
                  <a:lnTo>
                    <a:pt x="21" y="116"/>
                  </a:lnTo>
                  <a:lnTo>
                    <a:pt x="6" y="96"/>
                  </a:lnTo>
                  <a:lnTo>
                    <a:pt x="0" y="70"/>
                  </a:lnTo>
                  <a:lnTo>
                    <a:pt x="6" y="44"/>
                  </a:lnTo>
                  <a:lnTo>
                    <a:pt x="21" y="21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1" name="Freeform 99">
              <a:extLst>
                <a:ext uri="{FF2B5EF4-FFF2-40B4-BE49-F238E27FC236}">
                  <a16:creationId xmlns:a16="http://schemas.microsoft.com/office/drawing/2014/main" id="{D259BB74-5E10-4468-AAA5-A9FC12C0F6F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765807" y="1979469"/>
              <a:ext cx="108808" cy="108008"/>
            </a:xfrm>
            <a:custGeom>
              <a:avLst/>
              <a:gdLst>
                <a:gd name="T0" fmla="*/ 66 w 136"/>
                <a:gd name="T1" fmla="*/ 0 h 135"/>
                <a:gd name="T2" fmla="*/ 92 w 136"/>
                <a:gd name="T3" fmla="*/ 6 h 135"/>
                <a:gd name="T4" fmla="*/ 115 w 136"/>
                <a:gd name="T5" fmla="*/ 20 h 135"/>
                <a:gd name="T6" fmla="*/ 130 w 136"/>
                <a:gd name="T7" fmla="*/ 40 h 135"/>
                <a:gd name="T8" fmla="*/ 136 w 136"/>
                <a:gd name="T9" fmla="*/ 66 h 135"/>
                <a:gd name="T10" fmla="*/ 130 w 136"/>
                <a:gd name="T11" fmla="*/ 92 h 135"/>
                <a:gd name="T12" fmla="*/ 115 w 136"/>
                <a:gd name="T13" fmla="*/ 115 h 135"/>
                <a:gd name="T14" fmla="*/ 95 w 136"/>
                <a:gd name="T15" fmla="*/ 130 h 135"/>
                <a:gd name="T16" fmla="*/ 69 w 136"/>
                <a:gd name="T17" fmla="*/ 135 h 135"/>
                <a:gd name="T18" fmla="*/ 43 w 136"/>
                <a:gd name="T19" fmla="*/ 133 h 135"/>
                <a:gd name="T20" fmla="*/ 20 w 136"/>
                <a:gd name="T21" fmla="*/ 115 h 135"/>
                <a:gd name="T22" fmla="*/ 6 w 136"/>
                <a:gd name="T23" fmla="*/ 95 h 135"/>
                <a:gd name="T24" fmla="*/ 0 w 136"/>
                <a:gd name="T25" fmla="*/ 69 h 135"/>
                <a:gd name="T26" fmla="*/ 6 w 136"/>
                <a:gd name="T27" fmla="*/ 43 h 135"/>
                <a:gd name="T28" fmla="*/ 20 w 136"/>
                <a:gd name="T29" fmla="*/ 20 h 135"/>
                <a:gd name="T30" fmla="*/ 40 w 136"/>
                <a:gd name="T31" fmla="*/ 6 h 135"/>
                <a:gd name="T32" fmla="*/ 66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6" y="0"/>
                  </a:moveTo>
                  <a:lnTo>
                    <a:pt x="92" y="6"/>
                  </a:lnTo>
                  <a:lnTo>
                    <a:pt x="115" y="20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0" y="92"/>
                  </a:lnTo>
                  <a:lnTo>
                    <a:pt x="115" y="115"/>
                  </a:lnTo>
                  <a:lnTo>
                    <a:pt x="95" y="130"/>
                  </a:lnTo>
                  <a:lnTo>
                    <a:pt x="69" y="135"/>
                  </a:lnTo>
                  <a:lnTo>
                    <a:pt x="43" y="133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2" name="Freeform 100">
              <a:extLst>
                <a:ext uri="{FF2B5EF4-FFF2-40B4-BE49-F238E27FC236}">
                  <a16:creationId xmlns:a16="http://schemas.microsoft.com/office/drawing/2014/main" id="{9B52926E-E28C-48D9-8127-BB70F526435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2101904" y="4722868"/>
              <a:ext cx="108008" cy="111208"/>
            </a:xfrm>
            <a:custGeom>
              <a:avLst/>
              <a:gdLst>
                <a:gd name="T0" fmla="*/ 66 w 135"/>
                <a:gd name="T1" fmla="*/ 0 h 139"/>
                <a:gd name="T2" fmla="*/ 92 w 135"/>
                <a:gd name="T3" fmla="*/ 6 h 139"/>
                <a:gd name="T4" fmla="*/ 115 w 135"/>
                <a:gd name="T5" fmla="*/ 21 h 139"/>
                <a:gd name="T6" fmla="*/ 130 w 135"/>
                <a:gd name="T7" fmla="*/ 44 h 139"/>
                <a:gd name="T8" fmla="*/ 135 w 135"/>
                <a:gd name="T9" fmla="*/ 70 h 139"/>
                <a:gd name="T10" fmla="*/ 130 w 135"/>
                <a:gd name="T11" fmla="*/ 95 h 139"/>
                <a:gd name="T12" fmla="*/ 115 w 135"/>
                <a:gd name="T13" fmla="*/ 119 h 139"/>
                <a:gd name="T14" fmla="*/ 92 w 135"/>
                <a:gd name="T15" fmla="*/ 133 h 139"/>
                <a:gd name="T16" fmla="*/ 69 w 135"/>
                <a:gd name="T17" fmla="*/ 139 h 139"/>
                <a:gd name="T18" fmla="*/ 40 w 135"/>
                <a:gd name="T19" fmla="*/ 133 h 139"/>
                <a:gd name="T20" fmla="*/ 20 w 135"/>
                <a:gd name="T21" fmla="*/ 119 h 139"/>
                <a:gd name="T22" fmla="*/ 6 w 135"/>
                <a:gd name="T23" fmla="*/ 95 h 139"/>
                <a:gd name="T24" fmla="*/ 0 w 135"/>
                <a:gd name="T25" fmla="*/ 70 h 139"/>
                <a:gd name="T26" fmla="*/ 3 w 135"/>
                <a:gd name="T27" fmla="*/ 44 h 139"/>
                <a:gd name="T28" fmla="*/ 20 w 135"/>
                <a:gd name="T29" fmla="*/ 21 h 139"/>
                <a:gd name="T30" fmla="*/ 40 w 135"/>
                <a:gd name="T31" fmla="*/ 6 h 139"/>
                <a:gd name="T32" fmla="*/ 66 w 135"/>
                <a:gd name="T33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9">
                  <a:moveTo>
                    <a:pt x="66" y="0"/>
                  </a:moveTo>
                  <a:lnTo>
                    <a:pt x="92" y="6"/>
                  </a:lnTo>
                  <a:lnTo>
                    <a:pt x="115" y="21"/>
                  </a:lnTo>
                  <a:lnTo>
                    <a:pt x="130" y="44"/>
                  </a:lnTo>
                  <a:lnTo>
                    <a:pt x="135" y="70"/>
                  </a:lnTo>
                  <a:lnTo>
                    <a:pt x="130" y="95"/>
                  </a:lnTo>
                  <a:lnTo>
                    <a:pt x="115" y="119"/>
                  </a:lnTo>
                  <a:lnTo>
                    <a:pt x="92" y="133"/>
                  </a:lnTo>
                  <a:lnTo>
                    <a:pt x="69" y="139"/>
                  </a:lnTo>
                  <a:lnTo>
                    <a:pt x="40" y="133"/>
                  </a:lnTo>
                  <a:lnTo>
                    <a:pt x="20" y="119"/>
                  </a:lnTo>
                  <a:lnTo>
                    <a:pt x="6" y="95"/>
                  </a:lnTo>
                  <a:lnTo>
                    <a:pt x="0" y="70"/>
                  </a:lnTo>
                  <a:lnTo>
                    <a:pt x="3" y="44"/>
                  </a:lnTo>
                  <a:lnTo>
                    <a:pt x="20" y="21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3" name="Freeform 101">
              <a:extLst>
                <a:ext uri="{FF2B5EF4-FFF2-40B4-BE49-F238E27FC236}">
                  <a16:creationId xmlns:a16="http://schemas.microsoft.com/office/drawing/2014/main" id="{0E0F8C46-65B5-4A6E-9C13-BA4A754BF69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877887" y="4738870"/>
              <a:ext cx="108008" cy="108808"/>
            </a:xfrm>
            <a:custGeom>
              <a:avLst/>
              <a:gdLst>
                <a:gd name="T0" fmla="*/ 66 w 135"/>
                <a:gd name="T1" fmla="*/ 0 h 136"/>
                <a:gd name="T2" fmla="*/ 92 w 135"/>
                <a:gd name="T3" fmla="*/ 3 h 136"/>
                <a:gd name="T4" fmla="*/ 115 w 135"/>
                <a:gd name="T5" fmla="*/ 20 h 136"/>
                <a:gd name="T6" fmla="*/ 129 w 135"/>
                <a:gd name="T7" fmla="*/ 40 h 136"/>
                <a:gd name="T8" fmla="*/ 135 w 135"/>
                <a:gd name="T9" fmla="*/ 66 h 136"/>
                <a:gd name="T10" fmla="*/ 129 w 135"/>
                <a:gd name="T11" fmla="*/ 92 h 136"/>
                <a:gd name="T12" fmla="*/ 115 w 135"/>
                <a:gd name="T13" fmla="*/ 115 h 136"/>
                <a:gd name="T14" fmla="*/ 92 w 135"/>
                <a:gd name="T15" fmla="*/ 130 h 136"/>
                <a:gd name="T16" fmla="*/ 66 w 135"/>
                <a:gd name="T17" fmla="*/ 136 h 136"/>
                <a:gd name="T18" fmla="*/ 40 w 135"/>
                <a:gd name="T19" fmla="*/ 130 h 136"/>
                <a:gd name="T20" fmla="*/ 20 w 135"/>
                <a:gd name="T21" fmla="*/ 115 h 136"/>
                <a:gd name="T22" fmla="*/ 5 w 135"/>
                <a:gd name="T23" fmla="*/ 95 h 136"/>
                <a:gd name="T24" fmla="*/ 0 w 135"/>
                <a:gd name="T25" fmla="*/ 69 h 136"/>
                <a:gd name="T26" fmla="*/ 2 w 135"/>
                <a:gd name="T27" fmla="*/ 43 h 136"/>
                <a:gd name="T28" fmla="*/ 17 w 135"/>
                <a:gd name="T29" fmla="*/ 20 h 136"/>
                <a:gd name="T30" fmla="*/ 40 w 135"/>
                <a:gd name="T31" fmla="*/ 6 h 136"/>
                <a:gd name="T32" fmla="*/ 66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6" y="0"/>
                  </a:moveTo>
                  <a:lnTo>
                    <a:pt x="92" y="3"/>
                  </a:lnTo>
                  <a:lnTo>
                    <a:pt x="115" y="20"/>
                  </a:lnTo>
                  <a:lnTo>
                    <a:pt x="129" y="40"/>
                  </a:lnTo>
                  <a:lnTo>
                    <a:pt x="135" y="66"/>
                  </a:lnTo>
                  <a:lnTo>
                    <a:pt x="129" y="92"/>
                  </a:lnTo>
                  <a:lnTo>
                    <a:pt x="115" y="115"/>
                  </a:lnTo>
                  <a:lnTo>
                    <a:pt x="92" y="130"/>
                  </a:lnTo>
                  <a:lnTo>
                    <a:pt x="66" y="136"/>
                  </a:lnTo>
                  <a:lnTo>
                    <a:pt x="40" y="130"/>
                  </a:lnTo>
                  <a:lnTo>
                    <a:pt x="20" y="115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2" y="43"/>
                  </a:lnTo>
                  <a:lnTo>
                    <a:pt x="17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4" name="Freeform 102">
              <a:extLst>
                <a:ext uri="{FF2B5EF4-FFF2-40B4-BE49-F238E27FC236}">
                  <a16:creationId xmlns:a16="http://schemas.microsoft.com/office/drawing/2014/main" id="{F4448C16-C67F-42F3-8627-E3F8ACD02FC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653871" y="4722869"/>
              <a:ext cx="111208" cy="108808"/>
            </a:xfrm>
            <a:custGeom>
              <a:avLst/>
              <a:gdLst>
                <a:gd name="T0" fmla="*/ 69 w 139"/>
                <a:gd name="T1" fmla="*/ 0 h 136"/>
                <a:gd name="T2" fmla="*/ 95 w 139"/>
                <a:gd name="T3" fmla="*/ 3 h 136"/>
                <a:gd name="T4" fmla="*/ 118 w 139"/>
                <a:gd name="T5" fmla="*/ 20 h 136"/>
                <a:gd name="T6" fmla="*/ 133 w 139"/>
                <a:gd name="T7" fmla="*/ 41 h 136"/>
                <a:gd name="T8" fmla="*/ 139 w 139"/>
                <a:gd name="T9" fmla="*/ 67 h 136"/>
                <a:gd name="T10" fmla="*/ 133 w 139"/>
                <a:gd name="T11" fmla="*/ 92 h 136"/>
                <a:gd name="T12" fmla="*/ 118 w 139"/>
                <a:gd name="T13" fmla="*/ 116 h 136"/>
                <a:gd name="T14" fmla="*/ 95 w 139"/>
                <a:gd name="T15" fmla="*/ 130 h 136"/>
                <a:gd name="T16" fmla="*/ 69 w 139"/>
                <a:gd name="T17" fmla="*/ 136 h 136"/>
                <a:gd name="T18" fmla="*/ 44 w 139"/>
                <a:gd name="T19" fmla="*/ 130 h 136"/>
                <a:gd name="T20" fmla="*/ 20 w 139"/>
                <a:gd name="T21" fmla="*/ 116 h 136"/>
                <a:gd name="T22" fmla="*/ 6 w 139"/>
                <a:gd name="T23" fmla="*/ 92 h 136"/>
                <a:gd name="T24" fmla="*/ 0 w 139"/>
                <a:gd name="T25" fmla="*/ 67 h 136"/>
                <a:gd name="T26" fmla="*/ 6 w 139"/>
                <a:gd name="T27" fmla="*/ 41 h 136"/>
                <a:gd name="T28" fmla="*/ 20 w 139"/>
                <a:gd name="T29" fmla="*/ 20 h 136"/>
                <a:gd name="T30" fmla="*/ 44 w 139"/>
                <a:gd name="T31" fmla="*/ 6 h 136"/>
                <a:gd name="T32" fmla="*/ 69 w 139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6">
                  <a:moveTo>
                    <a:pt x="69" y="0"/>
                  </a:moveTo>
                  <a:lnTo>
                    <a:pt x="95" y="3"/>
                  </a:lnTo>
                  <a:lnTo>
                    <a:pt x="118" y="20"/>
                  </a:lnTo>
                  <a:lnTo>
                    <a:pt x="133" y="41"/>
                  </a:lnTo>
                  <a:lnTo>
                    <a:pt x="139" y="67"/>
                  </a:lnTo>
                  <a:lnTo>
                    <a:pt x="133" y="92"/>
                  </a:lnTo>
                  <a:lnTo>
                    <a:pt x="118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4" y="130"/>
                  </a:lnTo>
                  <a:lnTo>
                    <a:pt x="20" y="116"/>
                  </a:lnTo>
                  <a:lnTo>
                    <a:pt x="6" y="92"/>
                  </a:lnTo>
                  <a:lnTo>
                    <a:pt x="0" y="67"/>
                  </a:lnTo>
                  <a:lnTo>
                    <a:pt x="6" y="41"/>
                  </a:lnTo>
                  <a:lnTo>
                    <a:pt x="20" y="20"/>
                  </a:lnTo>
                  <a:lnTo>
                    <a:pt x="44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5" name="Freeform 103">
              <a:extLst>
                <a:ext uri="{FF2B5EF4-FFF2-40B4-BE49-F238E27FC236}">
                  <a16:creationId xmlns:a16="http://schemas.microsoft.com/office/drawing/2014/main" id="{6C0426CF-8D88-4D52-A205-AFDE87004AB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434655" y="4677265"/>
              <a:ext cx="111208" cy="108008"/>
            </a:xfrm>
            <a:custGeom>
              <a:avLst/>
              <a:gdLst>
                <a:gd name="T0" fmla="*/ 69 w 139"/>
                <a:gd name="T1" fmla="*/ 0 h 135"/>
                <a:gd name="T2" fmla="*/ 95 w 139"/>
                <a:gd name="T3" fmla="*/ 3 h 135"/>
                <a:gd name="T4" fmla="*/ 118 w 139"/>
                <a:gd name="T5" fmla="*/ 20 h 135"/>
                <a:gd name="T6" fmla="*/ 133 w 139"/>
                <a:gd name="T7" fmla="*/ 40 h 135"/>
                <a:gd name="T8" fmla="*/ 139 w 139"/>
                <a:gd name="T9" fmla="*/ 66 h 135"/>
                <a:gd name="T10" fmla="*/ 133 w 139"/>
                <a:gd name="T11" fmla="*/ 92 h 135"/>
                <a:gd name="T12" fmla="*/ 118 w 139"/>
                <a:gd name="T13" fmla="*/ 115 h 135"/>
                <a:gd name="T14" fmla="*/ 95 w 139"/>
                <a:gd name="T15" fmla="*/ 130 h 135"/>
                <a:gd name="T16" fmla="*/ 69 w 139"/>
                <a:gd name="T17" fmla="*/ 135 h 135"/>
                <a:gd name="T18" fmla="*/ 43 w 139"/>
                <a:gd name="T19" fmla="*/ 130 h 135"/>
                <a:gd name="T20" fmla="*/ 20 w 139"/>
                <a:gd name="T21" fmla="*/ 115 h 135"/>
                <a:gd name="T22" fmla="*/ 6 w 139"/>
                <a:gd name="T23" fmla="*/ 95 h 135"/>
                <a:gd name="T24" fmla="*/ 0 w 139"/>
                <a:gd name="T25" fmla="*/ 69 h 135"/>
                <a:gd name="T26" fmla="*/ 6 w 139"/>
                <a:gd name="T27" fmla="*/ 43 h 135"/>
                <a:gd name="T28" fmla="*/ 20 w 139"/>
                <a:gd name="T29" fmla="*/ 20 h 135"/>
                <a:gd name="T30" fmla="*/ 43 w 139"/>
                <a:gd name="T31" fmla="*/ 6 h 135"/>
                <a:gd name="T32" fmla="*/ 69 w 139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5">
                  <a:moveTo>
                    <a:pt x="69" y="0"/>
                  </a:moveTo>
                  <a:lnTo>
                    <a:pt x="95" y="3"/>
                  </a:lnTo>
                  <a:lnTo>
                    <a:pt x="118" y="20"/>
                  </a:lnTo>
                  <a:lnTo>
                    <a:pt x="133" y="40"/>
                  </a:lnTo>
                  <a:lnTo>
                    <a:pt x="139" y="66"/>
                  </a:lnTo>
                  <a:lnTo>
                    <a:pt x="133" y="92"/>
                  </a:lnTo>
                  <a:lnTo>
                    <a:pt x="118" y="115"/>
                  </a:lnTo>
                  <a:lnTo>
                    <a:pt x="95" y="130"/>
                  </a:lnTo>
                  <a:lnTo>
                    <a:pt x="69" y="135"/>
                  </a:lnTo>
                  <a:lnTo>
                    <a:pt x="43" y="130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6" name="Freeform 104">
              <a:extLst>
                <a:ext uri="{FF2B5EF4-FFF2-40B4-BE49-F238E27FC236}">
                  <a16:creationId xmlns:a16="http://schemas.microsoft.com/office/drawing/2014/main" id="{3F72B4EE-CADC-4C8C-8527-C23625668AF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225040" y="4601259"/>
              <a:ext cx="108808" cy="108008"/>
            </a:xfrm>
            <a:custGeom>
              <a:avLst/>
              <a:gdLst>
                <a:gd name="T0" fmla="*/ 67 w 136"/>
                <a:gd name="T1" fmla="*/ 0 h 135"/>
                <a:gd name="T2" fmla="*/ 93 w 136"/>
                <a:gd name="T3" fmla="*/ 6 h 135"/>
                <a:gd name="T4" fmla="*/ 116 w 136"/>
                <a:gd name="T5" fmla="*/ 20 h 135"/>
                <a:gd name="T6" fmla="*/ 130 w 136"/>
                <a:gd name="T7" fmla="*/ 43 h 135"/>
                <a:gd name="T8" fmla="*/ 136 w 136"/>
                <a:gd name="T9" fmla="*/ 66 h 135"/>
                <a:gd name="T10" fmla="*/ 130 w 136"/>
                <a:gd name="T11" fmla="*/ 95 h 135"/>
                <a:gd name="T12" fmla="*/ 116 w 136"/>
                <a:gd name="T13" fmla="*/ 115 h 135"/>
                <a:gd name="T14" fmla="*/ 93 w 136"/>
                <a:gd name="T15" fmla="*/ 130 h 135"/>
                <a:gd name="T16" fmla="*/ 67 w 136"/>
                <a:gd name="T17" fmla="*/ 135 h 135"/>
                <a:gd name="T18" fmla="*/ 41 w 136"/>
                <a:gd name="T19" fmla="*/ 133 h 135"/>
                <a:gd name="T20" fmla="*/ 18 w 136"/>
                <a:gd name="T21" fmla="*/ 115 h 135"/>
                <a:gd name="T22" fmla="*/ 3 w 136"/>
                <a:gd name="T23" fmla="*/ 95 h 135"/>
                <a:gd name="T24" fmla="*/ 0 w 136"/>
                <a:gd name="T25" fmla="*/ 69 h 135"/>
                <a:gd name="T26" fmla="*/ 3 w 136"/>
                <a:gd name="T27" fmla="*/ 43 h 135"/>
                <a:gd name="T28" fmla="*/ 18 w 136"/>
                <a:gd name="T29" fmla="*/ 20 h 135"/>
                <a:gd name="T30" fmla="*/ 41 w 136"/>
                <a:gd name="T31" fmla="*/ 6 h 135"/>
                <a:gd name="T32" fmla="*/ 67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7" y="0"/>
                  </a:moveTo>
                  <a:lnTo>
                    <a:pt x="93" y="6"/>
                  </a:lnTo>
                  <a:lnTo>
                    <a:pt x="116" y="20"/>
                  </a:lnTo>
                  <a:lnTo>
                    <a:pt x="130" y="43"/>
                  </a:lnTo>
                  <a:lnTo>
                    <a:pt x="136" y="66"/>
                  </a:lnTo>
                  <a:lnTo>
                    <a:pt x="130" y="95"/>
                  </a:lnTo>
                  <a:lnTo>
                    <a:pt x="116" y="115"/>
                  </a:lnTo>
                  <a:lnTo>
                    <a:pt x="93" y="130"/>
                  </a:lnTo>
                  <a:lnTo>
                    <a:pt x="67" y="135"/>
                  </a:lnTo>
                  <a:lnTo>
                    <a:pt x="41" y="133"/>
                  </a:lnTo>
                  <a:lnTo>
                    <a:pt x="18" y="115"/>
                  </a:lnTo>
                  <a:lnTo>
                    <a:pt x="3" y="95"/>
                  </a:lnTo>
                  <a:lnTo>
                    <a:pt x="0" y="69"/>
                  </a:lnTo>
                  <a:lnTo>
                    <a:pt x="3" y="43"/>
                  </a:lnTo>
                  <a:lnTo>
                    <a:pt x="18" y="20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7" name="Freeform 105">
              <a:extLst>
                <a:ext uri="{FF2B5EF4-FFF2-40B4-BE49-F238E27FC236}">
                  <a16:creationId xmlns:a16="http://schemas.microsoft.com/office/drawing/2014/main" id="{81239A3C-4D7F-46D3-A0F5-1AF66BFF2510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026625" y="4494852"/>
              <a:ext cx="111208" cy="108008"/>
            </a:xfrm>
            <a:custGeom>
              <a:avLst/>
              <a:gdLst>
                <a:gd name="T0" fmla="*/ 70 w 139"/>
                <a:gd name="T1" fmla="*/ 0 h 135"/>
                <a:gd name="T2" fmla="*/ 96 w 139"/>
                <a:gd name="T3" fmla="*/ 5 h 135"/>
                <a:gd name="T4" fmla="*/ 119 w 139"/>
                <a:gd name="T5" fmla="*/ 20 h 135"/>
                <a:gd name="T6" fmla="*/ 133 w 139"/>
                <a:gd name="T7" fmla="*/ 40 h 135"/>
                <a:gd name="T8" fmla="*/ 139 w 139"/>
                <a:gd name="T9" fmla="*/ 66 h 135"/>
                <a:gd name="T10" fmla="*/ 133 w 139"/>
                <a:gd name="T11" fmla="*/ 92 h 135"/>
                <a:gd name="T12" fmla="*/ 119 w 139"/>
                <a:gd name="T13" fmla="*/ 115 h 135"/>
                <a:gd name="T14" fmla="*/ 96 w 139"/>
                <a:gd name="T15" fmla="*/ 129 h 135"/>
                <a:gd name="T16" fmla="*/ 70 w 139"/>
                <a:gd name="T17" fmla="*/ 135 h 135"/>
                <a:gd name="T18" fmla="*/ 44 w 139"/>
                <a:gd name="T19" fmla="*/ 129 h 135"/>
                <a:gd name="T20" fmla="*/ 21 w 139"/>
                <a:gd name="T21" fmla="*/ 115 h 135"/>
                <a:gd name="T22" fmla="*/ 6 w 139"/>
                <a:gd name="T23" fmla="*/ 95 h 135"/>
                <a:gd name="T24" fmla="*/ 0 w 139"/>
                <a:gd name="T25" fmla="*/ 69 h 135"/>
                <a:gd name="T26" fmla="*/ 6 w 139"/>
                <a:gd name="T27" fmla="*/ 40 h 135"/>
                <a:gd name="T28" fmla="*/ 21 w 139"/>
                <a:gd name="T29" fmla="*/ 20 h 135"/>
                <a:gd name="T30" fmla="*/ 44 w 139"/>
                <a:gd name="T31" fmla="*/ 5 h 135"/>
                <a:gd name="T32" fmla="*/ 70 w 139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5">
                  <a:moveTo>
                    <a:pt x="70" y="0"/>
                  </a:moveTo>
                  <a:lnTo>
                    <a:pt x="96" y="5"/>
                  </a:lnTo>
                  <a:lnTo>
                    <a:pt x="119" y="20"/>
                  </a:lnTo>
                  <a:lnTo>
                    <a:pt x="133" y="40"/>
                  </a:lnTo>
                  <a:lnTo>
                    <a:pt x="139" y="66"/>
                  </a:lnTo>
                  <a:lnTo>
                    <a:pt x="133" y="92"/>
                  </a:lnTo>
                  <a:lnTo>
                    <a:pt x="119" y="115"/>
                  </a:lnTo>
                  <a:lnTo>
                    <a:pt x="96" y="129"/>
                  </a:lnTo>
                  <a:lnTo>
                    <a:pt x="70" y="135"/>
                  </a:lnTo>
                  <a:lnTo>
                    <a:pt x="44" y="129"/>
                  </a:lnTo>
                  <a:lnTo>
                    <a:pt x="21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0"/>
                  </a:lnTo>
                  <a:lnTo>
                    <a:pt x="21" y="20"/>
                  </a:lnTo>
                  <a:lnTo>
                    <a:pt x="44" y="5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8" name="Freeform 106">
              <a:extLst>
                <a:ext uri="{FF2B5EF4-FFF2-40B4-BE49-F238E27FC236}">
                  <a16:creationId xmlns:a16="http://schemas.microsoft.com/office/drawing/2014/main" id="{697CB476-432B-4C62-A8FC-20D0EC55B60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846613" y="4363642"/>
              <a:ext cx="108808" cy="108008"/>
            </a:xfrm>
            <a:custGeom>
              <a:avLst/>
              <a:gdLst>
                <a:gd name="T0" fmla="*/ 66 w 136"/>
                <a:gd name="T1" fmla="*/ 0 h 135"/>
                <a:gd name="T2" fmla="*/ 92 w 136"/>
                <a:gd name="T3" fmla="*/ 6 h 135"/>
                <a:gd name="T4" fmla="*/ 115 w 136"/>
                <a:gd name="T5" fmla="*/ 20 h 135"/>
                <a:gd name="T6" fmla="*/ 130 w 136"/>
                <a:gd name="T7" fmla="*/ 40 h 135"/>
                <a:gd name="T8" fmla="*/ 136 w 136"/>
                <a:gd name="T9" fmla="*/ 66 h 135"/>
                <a:gd name="T10" fmla="*/ 130 w 136"/>
                <a:gd name="T11" fmla="*/ 92 h 135"/>
                <a:gd name="T12" fmla="*/ 115 w 136"/>
                <a:gd name="T13" fmla="*/ 115 h 135"/>
                <a:gd name="T14" fmla="*/ 92 w 136"/>
                <a:gd name="T15" fmla="*/ 130 h 135"/>
                <a:gd name="T16" fmla="*/ 69 w 136"/>
                <a:gd name="T17" fmla="*/ 135 h 135"/>
                <a:gd name="T18" fmla="*/ 41 w 136"/>
                <a:gd name="T19" fmla="*/ 132 h 135"/>
                <a:gd name="T20" fmla="*/ 20 w 136"/>
                <a:gd name="T21" fmla="*/ 115 h 135"/>
                <a:gd name="T22" fmla="*/ 6 w 136"/>
                <a:gd name="T23" fmla="*/ 95 h 135"/>
                <a:gd name="T24" fmla="*/ 0 w 136"/>
                <a:gd name="T25" fmla="*/ 69 h 135"/>
                <a:gd name="T26" fmla="*/ 3 w 136"/>
                <a:gd name="T27" fmla="*/ 43 h 135"/>
                <a:gd name="T28" fmla="*/ 20 w 136"/>
                <a:gd name="T29" fmla="*/ 20 h 135"/>
                <a:gd name="T30" fmla="*/ 41 w 136"/>
                <a:gd name="T31" fmla="*/ 6 h 135"/>
                <a:gd name="T32" fmla="*/ 66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6" y="0"/>
                  </a:moveTo>
                  <a:lnTo>
                    <a:pt x="92" y="6"/>
                  </a:lnTo>
                  <a:lnTo>
                    <a:pt x="115" y="20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0" y="92"/>
                  </a:lnTo>
                  <a:lnTo>
                    <a:pt x="115" y="115"/>
                  </a:lnTo>
                  <a:lnTo>
                    <a:pt x="92" y="130"/>
                  </a:lnTo>
                  <a:lnTo>
                    <a:pt x="69" y="135"/>
                  </a:lnTo>
                  <a:lnTo>
                    <a:pt x="41" y="132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3" y="43"/>
                  </a:lnTo>
                  <a:lnTo>
                    <a:pt x="20" y="20"/>
                  </a:lnTo>
                  <a:lnTo>
                    <a:pt x="41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9" name="Freeform 107">
              <a:extLst>
                <a:ext uri="{FF2B5EF4-FFF2-40B4-BE49-F238E27FC236}">
                  <a16:creationId xmlns:a16="http://schemas.microsoft.com/office/drawing/2014/main" id="{530C47F7-235B-423C-9412-AE931FD8903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685801" y="4206831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2 w 135"/>
                <a:gd name="T3" fmla="*/ 3 h 135"/>
                <a:gd name="T4" fmla="*/ 115 w 135"/>
                <a:gd name="T5" fmla="*/ 17 h 135"/>
                <a:gd name="T6" fmla="*/ 130 w 135"/>
                <a:gd name="T7" fmla="*/ 40 h 135"/>
                <a:gd name="T8" fmla="*/ 135 w 135"/>
                <a:gd name="T9" fmla="*/ 66 h 135"/>
                <a:gd name="T10" fmla="*/ 130 w 135"/>
                <a:gd name="T11" fmla="*/ 92 h 135"/>
                <a:gd name="T12" fmla="*/ 115 w 135"/>
                <a:gd name="T13" fmla="*/ 115 h 135"/>
                <a:gd name="T14" fmla="*/ 92 w 135"/>
                <a:gd name="T15" fmla="*/ 130 h 135"/>
                <a:gd name="T16" fmla="*/ 69 w 135"/>
                <a:gd name="T17" fmla="*/ 135 h 135"/>
                <a:gd name="T18" fmla="*/ 40 w 135"/>
                <a:gd name="T19" fmla="*/ 130 h 135"/>
                <a:gd name="T20" fmla="*/ 20 w 135"/>
                <a:gd name="T21" fmla="*/ 115 h 135"/>
                <a:gd name="T22" fmla="*/ 3 w 135"/>
                <a:gd name="T23" fmla="*/ 92 h 135"/>
                <a:gd name="T24" fmla="*/ 0 w 135"/>
                <a:gd name="T25" fmla="*/ 66 h 135"/>
                <a:gd name="T26" fmla="*/ 3 w 135"/>
                <a:gd name="T27" fmla="*/ 40 h 135"/>
                <a:gd name="T28" fmla="*/ 20 w 135"/>
                <a:gd name="T29" fmla="*/ 17 h 135"/>
                <a:gd name="T30" fmla="*/ 40 w 135"/>
                <a:gd name="T31" fmla="*/ 3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2" y="3"/>
                  </a:lnTo>
                  <a:lnTo>
                    <a:pt x="115" y="17"/>
                  </a:lnTo>
                  <a:lnTo>
                    <a:pt x="130" y="40"/>
                  </a:lnTo>
                  <a:lnTo>
                    <a:pt x="135" y="66"/>
                  </a:lnTo>
                  <a:lnTo>
                    <a:pt x="130" y="92"/>
                  </a:lnTo>
                  <a:lnTo>
                    <a:pt x="115" y="115"/>
                  </a:lnTo>
                  <a:lnTo>
                    <a:pt x="92" y="130"/>
                  </a:lnTo>
                  <a:lnTo>
                    <a:pt x="69" y="135"/>
                  </a:lnTo>
                  <a:lnTo>
                    <a:pt x="40" y="130"/>
                  </a:lnTo>
                  <a:lnTo>
                    <a:pt x="20" y="115"/>
                  </a:lnTo>
                  <a:lnTo>
                    <a:pt x="3" y="92"/>
                  </a:lnTo>
                  <a:lnTo>
                    <a:pt x="0" y="66"/>
                  </a:lnTo>
                  <a:lnTo>
                    <a:pt x="3" y="40"/>
                  </a:lnTo>
                  <a:lnTo>
                    <a:pt x="20" y="17"/>
                  </a:lnTo>
                  <a:lnTo>
                    <a:pt x="40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0" name="Freeform 108">
              <a:extLst>
                <a:ext uri="{FF2B5EF4-FFF2-40B4-BE49-F238E27FC236}">
                  <a16:creationId xmlns:a16="http://schemas.microsoft.com/office/drawing/2014/main" id="{313BFBE0-5D5E-45E8-BFCC-CCB70370B1C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323374" y="2262689"/>
              <a:ext cx="108008" cy="108808"/>
            </a:xfrm>
            <a:custGeom>
              <a:avLst/>
              <a:gdLst>
                <a:gd name="T0" fmla="*/ 66 w 135"/>
                <a:gd name="T1" fmla="*/ 0 h 136"/>
                <a:gd name="T2" fmla="*/ 92 w 135"/>
                <a:gd name="T3" fmla="*/ 6 h 136"/>
                <a:gd name="T4" fmla="*/ 115 w 135"/>
                <a:gd name="T5" fmla="*/ 21 h 136"/>
                <a:gd name="T6" fmla="*/ 129 w 135"/>
                <a:gd name="T7" fmla="*/ 41 h 136"/>
                <a:gd name="T8" fmla="*/ 135 w 135"/>
                <a:gd name="T9" fmla="*/ 67 h 136"/>
                <a:gd name="T10" fmla="*/ 129 w 135"/>
                <a:gd name="T11" fmla="*/ 93 h 136"/>
                <a:gd name="T12" fmla="*/ 115 w 135"/>
                <a:gd name="T13" fmla="*/ 116 h 136"/>
                <a:gd name="T14" fmla="*/ 92 w 135"/>
                <a:gd name="T15" fmla="*/ 130 h 136"/>
                <a:gd name="T16" fmla="*/ 69 w 135"/>
                <a:gd name="T17" fmla="*/ 136 h 136"/>
                <a:gd name="T18" fmla="*/ 40 w 135"/>
                <a:gd name="T19" fmla="*/ 130 h 136"/>
                <a:gd name="T20" fmla="*/ 20 w 135"/>
                <a:gd name="T21" fmla="*/ 116 h 136"/>
                <a:gd name="T22" fmla="*/ 2 w 135"/>
                <a:gd name="T23" fmla="*/ 96 h 136"/>
                <a:gd name="T24" fmla="*/ 0 w 135"/>
                <a:gd name="T25" fmla="*/ 70 h 136"/>
                <a:gd name="T26" fmla="*/ 2 w 135"/>
                <a:gd name="T27" fmla="*/ 44 h 136"/>
                <a:gd name="T28" fmla="*/ 20 w 135"/>
                <a:gd name="T29" fmla="*/ 21 h 136"/>
                <a:gd name="T30" fmla="*/ 40 w 135"/>
                <a:gd name="T31" fmla="*/ 6 h 136"/>
                <a:gd name="T32" fmla="*/ 66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6" y="0"/>
                  </a:moveTo>
                  <a:lnTo>
                    <a:pt x="92" y="6"/>
                  </a:lnTo>
                  <a:lnTo>
                    <a:pt x="115" y="21"/>
                  </a:lnTo>
                  <a:lnTo>
                    <a:pt x="129" y="41"/>
                  </a:lnTo>
                  <a:lnTo>
                    <a:pt x="135" y="67"/>
                  </a:lnTo>
                  <a:lnTo>
                    <a:pt x="129" y="93"/>
                  </a:lnTo>
                  <a:lnTo>
                    <a:pt x="115" y="116"/>
                  </a:lnTo>
                  <a:lnTo>
                    <a:pt x="92" y="130"/>
                  </a:lnTo>
                  <a:lnTo>
                    <a:pt x="69" y="136"/>
                  </a:lnTo>
                  <a:lnTo>
                    <a:pt x="40" y="130"/>
                  </a:lnTo>
                  <a:lnTo>
                    <a:pt x="20" y="116"/>
                  </a:lnTo>
                  <a:lnTo>
                    <a:pt x="2" y="96"/>
                  </a:lnTo>
                  <a:lnTo>
                    <a:pt x="0" y="70"/>
                  </a:lnTo>
                  <a:lnTo>
                    <a:pt x="2" y="44"/>
                  </a:lnTo>
                  <a:lnTo>
                    <a:pt x="20" y="21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1" name="Freeform 109">
              <a:extLst>
                <a:ext uri="{FF2B5EF4-FFF2-40B4-BE49-F238E27FC236}">
                  <a16:creationId xmlns:a16="http://schemas.microsoft.com/office/drawing/2014/main" id="{16F914DD-76AB-4A06-A1C7-361E95CFD5D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445783" y="2073875"/>
              <a:ext cx="108008" cy="110408"/>
            </a:xfrm>
            <a:custGeom>
              <a:avLst/>
              <a:gdLst>
                <a:gd name="T0" fmla="*/ 66 w 135"/>
                <a:gd name="T1" fmla="*/ 0 h 138"/>
                <a:gd name="T2" fmla="*/ 95 w 135"/>
                <a:gd name="T3" fmla="*/ 6 h 138"/>
                <a:gd name="T4" fmla="*/ 115 w 135"/>
                <a:gd name="T5" fmla="*/ 20 h 138"/>
                <a:gd name="T6" fmla="*/ 129 w 135"/>
                <a:gd name="T7" fmla="*/ 43 h 138"/>
                <a:gd name="T8" fmla="*/ 135 w 135"/>
                <a:gd name="T9" fmla="*/ 69 h 138"/>
                <a:gd name="T10" fmla="*/ 129 w 135"/>
                <a:gd name="T11" fmla="*/ 95 h 138"/>
                <a:gd name="T12" fmla="*/ 115 w 135"/>
                <a:gd name="T13" fmla="*/ 118 h 138"/>
                <a:gd name="T14" fmla="*/ 95 w 135"/>
                <a:gd name="T15" fmla="*/ 132 h 138"/>
                <a:gd name="T16" fmla="*/ 69 w 135"/>
                <a:gd name="T17" fmla="*/ 138 h 138"/>
                <a:gd name="T18" fmla="*/ 43 w 135"/>
                <a:gd name="T19" fmla="*/ 132 h 138"/>
                <a:gd name="T20" fmla="*/ 20 w 135"/>
                <a:gd name="T21" fmla="*/ 118 h 138"/>
                <a:gd name="T22" fmla="*/ 6 w 135"/>
                <a:gd name="T23" fmla="*/ 95 h 138"/>
                <a:gd name="T24" fmla="*/ 0 w 135"/>
                <a:gd name="T25" fmla="*/ 69 h 138"/>
                <a:gd name="T26" fmla="*/ 6 w 135"/>
                <a:gd name="T27" fmla="*/ 43 h 138"/>
                <a:gd name="T28" fmla="*/ 20 w 135"/>
                <a:gd name="T29" fmla="*/ 20 h 138"/>
                <a:gd name="T30" fmla="*/ 40 w 135"/>
                <a:gd name="T31" fmla="*/ 6 h 138"/>
                <a:gd name="T32" fmla="*/ 66 w 135"/>
                <a:gd name="T3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8">
                  <a:moveTo>
                    <a:pt x="66" y="0"/>
                  </a:moveTo>
                  <a:lnTo>
                    <a:pt x="95" y="6"/>
                  </a:lnTo>
                  <a:lnTo>
                    <a:pt x="115" y="20"/>
                  </a:lnTo>
                  <a:lnTo>
                    <a:pt x="129" y="43"/>
                  </a:lnTo>
                  <a:lnTo>
                    <a:pt x="135" y="69"/>
                  </a:lnTo>
                  <a:lnTo>
                    <a:pt x="129" y="95"/>
                  </a:lnTo>
                  <a:lnTo>
                    <a:pt x="115" y="118"/>
                  </a:lnTo>
                  <a:lnTo>
                    <a:pt x="95" y="132"/>
                  </a:lnTo>
                  <a:lnTo>
                    <a:pt x="69" y="138"/>
                  </a:lnTo>
                  <a:lnTo>
                    <a:pt x="43" y="132"/>
                  </a:lnTo>
                  <a:lnTo>
                    <a:pt x="20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2" name="Freeform 110">
              <a:extLst>
                <a:ext uri="{FF2B5EF4-FFF2-40B4-BE49-F238E27FC236}">
                  <a16:creationId xmlns:a16="http://schemas.microsoft.com/office/drawing/2014/main" id="{7E8C8C14-FB96-4E97-A2CA-8631D009A8A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588194" y="1902663"/>
              <a:ext cx="111208" cy="108808"/>
            </a:xfrm>
            <a:custGeom>
              <a:avLst/>
              <a:gdLst>
                <a:gd name="T0" fmla="*/ 69 w 139"/>
                <a:gd name="T1" fmla="*/ 0 h 136"/>
                <a:gd name="T2" fmla="*/ 95 w 139"/>
                <a:gd name="T3" fmla="*/ 6 h 136"/>
                <a:gd name="T4" fmla="*/ 118 w 139"/>
                <a:gd name="T5" fmla="*/ 20 h 136"/>
                <a:gd name="T6" fmla="*/ 133 w 139"/>
                <a:gd name="T7" fmla="*/ 40 h 136"/>
                <a:gd name="T8" fmla="*/ 139 w 139"/>
                <a:gd name="T9" fmla="*/ 66 h 136"/>
                <a:gd name="T10" fmla="*/ 133 w 139"/>
                <a:gd name="T11" fmla="*/ 92 h 136"/>
                <a:gd name="T12" fmla="*/ 118 w 139"/>
                <a:gd name="T13" fmla="*/ 115 h 136"/>
                <a:gd name="T14" fmla="*/ 95 w 139"/>
                <a:gd name="T15" fmla="*/ 130 h 136"/>
                <a:gd name="T16" fmla="*/ 69 w 139"/>
                <a:gd name="T17" fmla="*/ 136 h 136"/>
                <a:gd name="T18" fmla="*/ 43 w 139"/>
                <a:gd name="T19" fmla="*/ 130 h 136"/>
                <a:gd name="T20" fmla="*/ 20 w 139"/>
                <a:gd name="T21" fmla="*/ 115 h 136"/>
                <a:gd name="T22" fmla="*/ 6 w 139"/>
                <a:gd name="T23" fmla="*/ 95 h 136"/>
                <a:gd name="T24" fmla="*/ 0 w 139"/>
                <a:gd name="T25" fmla="*/ 69 h 136"/>
                <a:gd name="T26" fmla="*/ 6 w 139"/>
                <a:gd name="T27" fmla="*/ 40 h 136"/>
                <a:gd name="T28" fmla="*/ 20 w 139"/>
                <a:gd name="T29" fmla="*/ 20 h 136"/>
                <a:gd name="T30" fmla="*/ 43 w 139"/>
                <a:gd name="T31" fmla="*/ 6 h 136"/>
                <a:gd name="T32" fmla="*/ 69 w 139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6">
                  <a:moveTo>
                    <a:pt x="69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3" y="40"/>
                  </a:lnTo>
                  <a:lnTo>
                    <a:pt x="139" y="66"/>
                  </a:lnTo>
                  <a:lnTo>
                    <a:pt x="133" y="92"/>
                  </a:lnTo>
                  <a:lnTo>
                    <a:pt x="118" y="115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0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3" name="Freeform 111">
              <a:extLst>
                <a:ext uri="{FF2B5EF4-FFF2-40B4-BE49-F238E27FC236}">
                  <a16:creationId xmlns:a16="http://schemas.microsoft.com/office/drawing/2014/main" id="{F9712D74-344A-4E7B-9D90-7FF8947CDCF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977095" y="4914882"/>
              <a:ext cx="110408" cy="108008"/>
            </a:xfrm>
            <a:custGeom>
              <a:avLst/>
              <a:gdLst>
                <a:gd name="T0" fmla="*/ 69 w 138"/>
                <a:gd name="T1" fmla="*/ 0 h 135"/>
                <a:gd name="T2" fmla="*/ 95 w 138"/>
                <a:gd name="T3" fmla="*/ 3 h 135"/>
                <a:gd name="T4" fmla="*/ 118 w 138"/>
                <a:gd name="T5" fmla="*/ 17 h 135"/>
                <a:gd name="T6" fmla="*/ 132 w 138"/>
                <a:gd name="T7" fmla="*/ 40 h 135"/>
                <a:gd name="T8" fmla="*/ 138 w 138"/>
                <a:gd name="T9" fmla="*/ 66 h 135"/>
                <a:gd name="T10" fmla="*/ 132 w 138"/>
                <a:gd name="T11" fmla="*/ 92 h 135"/>
                <a:gd name="T12" fmla="*/ 118 w 138"/>
                <a:gd name="T13" fmla="*/ 115 h 135"/>
                <a:gd name="T14" fmla="*/ 95 w 138"/>
                <a:gd name="T15" fmla="*/ 130 h 135"/>
                <a:gd name="T16" fmla="*/ 69 w 138"/>
                <a:gd name="T17" fmla="*/ 135 h 135"/>
                <a:gd name="T18" fmla="*/ 43 w 138"/>
                <a:gd name="T19" fmla="*/ 130 h 135"/>
                <a:gd name="T20" fmla="*/ 20 w 138"/>
                <a:gd name="T21" fmla="*/ 115 h 135"/>
                <a:gd name="T22" fmla="*/ 5 w 138"/>
                <a:gd name="T23" fmla="*/ 92 h 135"/>
                <a:gd name="T24" fmla="*/ 0 w 138"/>
                <a:gd name="T25" fmla="*/ 69 h 135"/>
                <a:gd name="T26" fmla="*/ 5 w 138"/>
                <a:gd name="T27" fmla="*/ 40 h 135"/>
                <a:gd name="T28" fmla="*/ 20 w 138"/>
                <a:gd name="T29" fmla="*/ 17 h 135"/>
                <a:gd name="T30" fmla="*/ 43 w 138"/>
                <a:gd name="T31" fmla="*/ 3 h 135"/>
                <a:gd name="T32" fmla="*/ 69 w 138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5">
                  <a:moveTo>
                    <a:pt x="69" y="0"/>
                  </a:moveTo>
                  <a:lnTo>
                    <a:pt x="95" y="3"/>
                  </a:lnTo>
                  <a:lnTo>
                    <a:pt x="118" y="17"/>
                  </a:lnTo>
                  <a:lnTo>
                    <a:pt x="132" y="40"/>
                  </a:lnTo>
                  <a:lnTo>
                    <a:pt x="138" y="66"/>
                  </a:lnTo>
                  <a:lnTo>
                    <a:pt x="132" y="92"/>
                  </a:lnTo>
                  <a:lnTo>
                    <a:pt x="118" y="115"/>
                  </a:lnTo>
                  <a:lnTo>
                    <a:pt x="95" y="130"/>
                  </a:lnTo>
                  <a:lnTo>
                    <a:pt x="69" y="135"/>
                  </a:lnTo>
                  <a:lnTo>
                    <a:pt x="43" y="130"/>
                  </a:lnTo>
                  <a:lnTo>
                    <a:pt x="20" y="115"/>
                  </a:lnTo>
                  <a:lnTo>
                    <a:pt x="5" y="92"/>
                  </a:lnTo>
                  <a:lnTo>
                    <a:pt x="0" y="69"/>
                  </a:lnTo>
                  <a:lnTo>
                    <a:pt x="5" y="40"/>
                  </a:lnTo>
                  <a:lnTo>
                    <a:pt x="20" y="17"/>
                  </a:lnTo>
                  <a:lnTo>
                    <a:pt x="43" y="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4" name="Freeform 112">
              <a:extLst>
                <a:ext uri="{FF2B5EF4-FFF2-40B4-BE49-F238E27FC236}">
                  <a16:creationId xmlns:a16="http://schemas.microsoft.com/office/drawing/2014/main" id="{F6A4B320-6A60-464A-AA7C-0029C5A7EB7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753078" y="4912482"/>
              <a:ext cx="111208" cy="110408"/>
            </a:xfrm>
            <a:custGeom>
              <a:avLst/>
              <a:gdLst>
                <a:gd name="T0" fmla="*/ 70 w 139"/>
                <a:gd name="T1" fmla="*/ 0 h 138"/>
                <a:gd name="T2" fmla="*/ 95 w 139"/>
                <a:gd name="T3" fmla="*/ 6 h 138"/>
                <a:gd name="T4" fmla="*/ 119 w 139"/>
                <a:gd name="T5" fmla="*/ 20 h 138"/>
                <a:gd name="T6" fmla="*/ 133 w 139"/>
                <a:gd name="T7" fmla="*/ 43 h 138"/>
                <a:gd name="T8" fmla="*/ 139 w 139"/>
                <a:gd name="T9" fmla="*/ 69 h 138"/>
                <a:gd name="T10" fmla="*/ 133 w 139"/>
                <a:gd name="T11" fmla="*/ 95 h 138"/>
                <a:gd name="T12" fmla="*/ 119 w 139"/>
                <a:gd name="T13" fmla="*/ 118 h 138"/>
                <a:gd name="T14" fmla="*/ 95 w 139"/>
                <a:gd name="T15" fmla="*/ 133 h 138"/>
                <a:gd name="T16" fmla="*/ 70 w 139"/>
                <a:gd name="T17" fmla="*/ 138 h 138"/>
                <a:gd name="T18" fmla="*/ 44 w 139"/>
                <a:gd name="T19" fmla="*/ 133 h 138"/>
                <a:gd name="T20" fmla="*/ 21 w 139"/>
                <a:gd name="T21" fmla="*/ 118 h 138"/>
                <a:gd name="T22" fmla="*/ 6 w 139"/>
                <a:gd name="T23" fmla="*/ 95 h 138"/>
                <a:gd name="T24" fmla="*/ 0 w 139"/>
                <a:gd name="T25" fmla="*/ 69 h 138"/>
                <a:gd name="T26" fmla="*/ 6 w 139"/>
                <a:gd name="T27" fmla="*/ 43 h 138"/>
                <a:gd name="T28" fmla="*/ 21 w 139"/>
                <a:gd name="T29" fmla="*/ 20 h 138"/>
                <a:gd name="T30" fmla="*/ 44 w 139"/>
                <a:gd name="T31" fmla="*/ 6 h 138"/>
                <a:gd name="T32" fmla="*/ 70 w 139"/>
                <a:gd name="T3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8">
                  <a:moveTo>
                    <a:pt x="70" y="0"/>
                  </a:moveTo>
                  <a:lnTo>
                    <a:pt x="95" y="6"/>
                  </a:lnTo>
                  <a:lnTo>
                    <a:pt x="119" y="20"/>
                  </a:lnTo>
                  <a:lnTo>
                    <a:pt x="133" y="43"/>
                  </a:lnTo>
                  <a:lnTo>
                    <a:pt x="139" y="69"/>
                  </a:lnTo>
                  <a:lnTo>
                    <a:pt x="133" y="95"/>
                  </a:lnTo>
                  <a:lnTo>
                    <a:pt x="119" y="118"/>
                  </a:lnTo>
                  <a:lnTo>
                    <a:pt x="95" y="133"/>
                  </a:lnTo>
                  <a:lnTo>
                    <a:pt x="70" y="138"/>
                  </a:lnTo>
                  <a:lnTo>
                    <a:pt x="44" y="133"/>
                  </a:lnTo>
                  <a:lnTo>
                    <a:pt x="21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1" y="20"/>
                  </a:lnTo>
                  <a:lnTo>
                    <a:pt x="44" y="6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5" name="Freeform 113">
              <a:extLst>
                <a:ext uri="{FF2B5EF4-FFF2-40B4-BE49-F238E27FC236}">
                  <a16:creationId xmlns:a16="http://schemas.microsoft.com/office/drawing/2014/main" id="{4AE002C0-6BEC-4DAE-9F91-B16B377A161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532262" y="4882080"/>
              <a:ext cx="108008" cy="111208"/>
            </a:xfrm>
            <a:custGeom>
              <a:avLst/>
              <a:gdLst>
                <a:gd name="T0" fmla="*/ 66 w 135"/>
                <a:gd name="T1" fmla="*/ 0 h 139"/>
                <a:gd name="T2" fmla="*/ 92 w 135"/>
                <a:gd name="T3" fmla="*/ 6 h 139"/>
                <a:gd name="T4" fmla="*/ 115 w 135"/>
                <a:gd name="T5" fmla="*/ 21 h 139"/>
                <a:gd name="T6" fmla="*/ 130 w 135"/>
                <a:gd name="T7" fmla="*/ 44 h 139"/>
                <a:gd name="T8" fmla="*/ 135 w 135"/>
                <a:gd name="T9" fmla="*/ 70 h 139"/>
                <a:gd name="T10" fmla="*/ 130 w 135"/>
                <a:gd name="T11" fmla="*/ 96 h 139"/>
                <a:gd name="T12" fmla="*/ 115 w 135"/>
                <a:gd name="T13" fmla="*/ 119 h 139"/>
                <a:gd name="T14" fmla="*/ 95 w 135"/>
                <a:gd name="T15" fmla="*/ 133 h 139"/>
                <a:gd name="T16" fmla="*/ 69 w 135"/>
                <a:gd name="T17" fmla="*/ 139 h 139"/>
                <a:gd name="T18" fmla="*/ 40 w 135"/>
                <a:gd name="T19" fmla="*/ 133 h 139"/>
                <a:gd name="T20" fmla="*/ 20 w 135"/>
                <a:gd name="T21" fmla="*/ 119 h 139"/>
                <a:gd name="T22" fmla="*/ 6 w 135"/>
                <a:gd name="T23" fmla="*/ 96 h 139"/>
                <a:gd name="T24" fmla="*/ 0 w 135"/>
                <a:gd name="T25" fmla="*/ 70 h 139"/>
                <a:gd name="T26" fmla="*/ 6 w 135"/>
                <a:gd name="T27" fmla="*/ 44 h 139"/>
                <a:gd name="T28" fmla="*/ 20 w 135"/>
                <a:gd name="T29" fmla="*/ 21 h 139"/>
                <a:gd name="T30" fmla="*/ 40 w 135"/>
                <a:gd name="T31" fmla="*/ 6 h 139"/>
                <a:gd name="T32" fmla="*/ 66 w 135"/>
                <a:gd name="T33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9">
                  <a:moveTo>
                    <a:pt x="66" y="0"/>
                  </a:moveTo>
                  <a:lnTo>
                    <a:pt x="92" y="6"/>
                  </a:lnTo>
                  <a:lnTo>
                    <a:pt x="115" y="21"/>
                  </a:lnTo>
                  <a:lnTo>
                    <a:pt x="130" y="44"/>
                  </a:lnTo>
                  <a:lnTo>
                    <a:pt x="135" y="70"/>
                  </a:lnTo>
                  <a:lnTo>
                    <a:pt x="130" y="96"/>
                  </a:lnTo>
                  <a:lnTo>
                    <a:pt x="115" y="119"/>
                  </a:lnTo>
                  <a:lnTo>
                    <a:pt x="95" y="133"/>
                  </a:lnTo>
                  <a:lnTo>
                    <a:pt x="69" y="139"/>
                  </a:lnTo>
                  <a:lnTo>
                    <a:pt x="40" y="133"/>
                  </a:lnTo>
                  <a:lnTo>
                    <a:pt x="20" y="119"/>
                  </a:lnTo>
                  <a:lnTo>
                    <a:pt x="6" y="96"/>
                  </a:lnTo>
                  <a:lnTo>
                    <a:pt x="0" y="70"/>
                  </a:lnTo>
                  <a:lnTo>
                    <a:pt x="6" y="44"/>
                  </a:lnTo>
                  <a:lnTo>
                    <a:pt x="20" y="21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6" name="Freeform 114">
              <a:extLst>
                <a:ext uri="{FF2B5EF4-FFF2-40B4-BE49-F238E27FC236}">
                  <a16:creationId xmlns:a16="http://schemas.microsoft.com/office/drawing/2014/main" id="{0D1A27CE-73BE-4B2C-B964-CBD8A3A6080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315447" y="4826876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2 w 135"/>
                <a:gd name="T3" fmla="*/ 5 h 135"/>
                <a:gd name="T4" fmla="*/ 115 w 135"/>
                <a:gd name="T5" fmla="*/ 20 h 135"/>
                <a:gd name="T6" fmla="*/ 130 w 135"/>
                <a:gd name="T7" fmla="*/ 43 h 135"/>
                <a:gd name="T8" fmla="*/ 135 w 135"/>
                <a:gd name="T9" fmla="*/ 66 h 135"/>
                <a:gd name="T10" fmla="*/ 130 w 135"/>
                <a:gd name="T11" fmla="*/ 95 h 135"/>
                <a:gd name="T12" fmla="*/ 115 w 135"/>
                <a:gd name="T13" fmla="*/ 115 h 135"/>
                <a:gd name="T14" fmla="*/ 95 w 135"/>
                <a:gd name="T15" fmla="*/ 129 h 135"/>
                <a:gd name="T16" fmla="*/ 69 w 135"/>
                <a:gd name="T17" fmla="*/ 135 h 135"/>
                <a:gd name="T18" fmla="*/ 40 w 135"/>
                <a:gd name="T19" fmla="*/ 132 h 135"/>
                <a:gd name="T20" fmla="*/ 20 w 135"/>
                <a:gd name="T21" fmla="*/ 118 h 135"/>
                <a:gd name="T22" fmla="*/ 6 w 135"/>
                <a:gd name="T23" fmla="*/ 95 h 135"/>
                <a:gd name="T24" fmla="*/ 0 w 135"/>
                <a:gd name="T25" fmla="*/ 69 h 135"/>
                <a:gd name="T26" fmla="*/ 6 w 135"/>
                <a:gd name="T27" fmla="*/ 43 h 135"/>
                <a:gd name="T28" fmla="*/ 20 w 135"/>
                <a:gd name="T29" fmla="*/ 20 h 135"/>
                <a:gd name="T30" fmla="*/ 40 w 135"/>
                <a:gd name="T31" fmla="*/ 5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2" y="5"/>
                  </a:lnTo>
                  <a:lnTo>
                    <a:pt x="115" y="20"/>
                  </a:lnTo>
                  <a:lnTo>
                    <a:pt x="130" y="43"/>
                  </a:lnTo>
                  <a:lnTo>
                    <a:pt x="135" y="66"/>
                  </a:lnTo>
                  <a:lnTo>
                    <a:pt x="130" y="95"/>
                  </a:lnTo>
                  <a:lnTo>
                    <a:pt x="115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0" y="132"/>
                  </a:lnTo>
                  <a:lnTo>
                    <a:pt x="20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0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7" name="Freeform 115">
              <a:extLst>
                <a:ext uri="{FF2B5EF4-FFF2-40B4-BE49-F238E27FC236}">
                  <a16:creationId xmlns:a16="http://schemas.microsoft.com/office/drawing/2014/main" id="{743D52BE-2030-471D-8A2A-31EF56226A9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107432" y="4741270"/>
              <a:ext cx="108808" cy="108808"/>
            </a:xfrm>
            <a:custGeom>
              <a:avLst/>
              <a:gdLst>
                <a:gd name="T0" fmla="*/ 67 w 136"/>
                <a:gd name="T1" fmla="*/ 0 h 136"/>
                <a:gd name="T2" fmla="*/ 93 w 136"/>
                <a:gd name="T3" fmla="*/ 3 h 136"/>
                <a:gd name="T4" fmla="*/ 116 w 136"/>
                <a:gd name="T5" fmla="*/ 20 h 136"/>
                <a:gd name="T6" fmla="*/ 130 w 136"/>
                <a:gd name="T7" fmla="*/ 41 h 136"/>
                <a:gd name="T8" fmla="*/ 136 w 136"/>
                <a:gd name="T9" fmla="*/ 66 h 136"/>
                <a:gd name="T10" fmla="*/ 130 w 136"/>
                <a:gd name="T11" fmla="*/ 92 h 136"/>
                <a:gd name="T12" fmla="*/ 116 w 136"/>
                <a:gd name="T13" fmla="*/ 115 h 136"/>
                <a:gd name="T14" fmla="*/ 93 w 136"/>
                <a:gd name="T15" fmla="*/ 130 h 136"/>
                <a:gd name="T16" fmla="*/ 70 w 136"/>
                <a:gd name="T17" fmla="*/ 136 h 136"/>
                <a:gd name="T18" fmla="*/ 41 w 136"/>
                <a:gd name="T19" fmla="*/ 130 h 136"/>
                <a:gd name="T20" fmla="*/ 21 w 136"/>
                <a:gd name="T21" fmla="*/ 115 h 136"/>
                <a:gd name="T22" fmla="*/ 3 w 136"/>
                <a:gd name="T23" fmla="*/ 92 h 136"/>
                <a:gd name="T24" fmla="*/ 0 w 136"/>
                <a:gd name="T25" fmla="*/ 69 h 136"/>
                <a:gd name="T26" fmla="*/ 3 w 136"/>
                <a:gd name="T27" fmla="*/ 41 h 136"/>
                <a:gd name="T28" fmla="*/ 21 w 136"/>
                <a:gd name="T29" fmla="*/ 20 h 136"/>
                <a:gd name="T30" fmla="*/ 41 w 136"/>
                <a:gd name="T31" fmla="*/ 6 h 136"/>
                <a:gd name="T32" fmla="*/ 67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7" y="0"/>
                  </a:moveTo>
                  <a:lnTo>
                    <a:pt x="93" y="3"/>
                  </a:lnTo>
                  <a:lnTo>
                    <a:pt x="116" y="20"/>
                  </a:lnTo>
                  <a:lnTo>
                    <a:pt x="130" y="41"/>
                  </a:lnTo>
                  <a:lnTo>
                    <a:pt x="136" y="66"/>
                  </a:lnTo>
                  <a:lnTo>
                    <a:pt x="130" y="92"/>
                  </a:lnTo>
                  <a:lnTo>
                    <a:pt x="116" y="115"/>
                  </a:lnTo>
                  <a:lnTo>
                    <a:pt x="93" y="130"/>
                  </a:lnTo>
                  <a:lnTo>
                    <a:pt x="70" y="136"/>
                  </a:lnTo>
                  <a:lnTo>
                    <a:pt x="41" y="130"/>
                  </a:lnTo>
                  <a:lnTo>
                    <a:pt x="21" y="115"/>
                  </a:lnTo>
                  <a:lnTo>
                    <a:pt x="3" y="92"/>
                  </a:lnTo>
                  <a:lnTo>
                    <a:pt x="0" y="69"/>
                  </a:lnTo>
                  <a:lnTo>
                    <a:pt x="3" y="41"/>
                  </a:lnTo>
                  <a:lnTo>
                    <a:pt x="21" y="20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8" name="Freeform 116">
              <a:extLst>
                <a:ext uri="{FF2B5EF4-FFF2-40B4-BE49-F238E27FC236}">
                  <a16:creationId xmlns:a16="http://schemas.microsoft.com/office/drawing/2014/main" id="{04F4391F-9AC6-4361-A81E-7A3DA039AE0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911418" y="4633262"/>
              <a:ext cx="110408" cy="108008"/>
            </a:xfrm>
            <a:custGeom>
              <a:avLst/>
              <a:gdLst>
                <a:gd name="T0" fmla="*/ 69 w 138"/>
                <a:gd name="T1" fmla="*/ 0 h 135"/>
                <a:gd name="T2" fmla="*/ 95 w 138"/>
                <a:gd name="T3" fmla="*/ 5 h 135"/>
                <a:gd name="T4" fmla="*/ 118 w 138"/>
                <a:gd name="T5" fmla="*/ 20 h 135"/>
                <a:gd name="T6" fmla="*/ 132 w 138"/>
                <a:gd name="T7" fmla="*/ 43 h 135"/>
                <a:gd name="T8" fmla="*/ 138 w 138"/>
                <a:gd name="T9" fmla="*/ 66 h 135"/>
                <a:gd name="T10" fmla="*/ 132 w 138"/>
                <a:gd name="T11" fmla="*/ 92 h 135"/>
                <a:gd name="T12" fmla="*/ 118 w 138"/>
                <a:gd name="T13" fmla="*/ 115 h 135"/>
                <a:gd name="T14" fmla="*/ 95 w 138"/>
                <a:gd name="T15" fmla="*/ 129 h 135"/>
                <a:gd name="T16" fmla="*/ 72 w 138"/>
                <a:gd name="T17" fmla="*/ 135 h 135"/>
                <a:gd name="T18" fmla="*/ 43 w 138"/>
                <a:gd name="T19" fmla="*/ 132 h 135"/>
                <a:gd name="T20" fmla="*/ 20 w 138"/>
                <a:gd name="T21" fmla="*/ 115 h 135"/>
                <a:gd name="T22" fmla="*/ 5 w 138"/>
                <a:gd name="T23" fmla="*/ 95 h 135"/>
                <a:gd name="T24" fmla="*/ 0 w 138"/>
                <a:gd name="T25" fmla="*/ 69 h 135"/>
                <a:gd name="T26" fmla="*/ 5 w 138"/>
                <a:gd name="T27" fmla="*/ 43 h 135"/>
                <a:gd name="T28" fmla="*/ 20 w 138"/>
                <a:gd name="T29" fmla="*/ 20 h 135"/>
                <a:gd name="T30" fmla="*/ 43 w 138"/>
                <a:gd name="T31" fmla="*/ 5 h 135"/>
                <a:gd name="T32" fmla="*/ 69 w 138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5">
                  <a:moveTo>
                    <a:pt x="69" y="0"/>
                  </a:moveTo>
                  <a:lnTo>
                    <a:pt x="95" y="5"/>
                  </a:lnTo>
                  <a:lnTo>
                    <a:pt x="118" y="20"/>
                  </a:lnTo>
                  <a:lnTo>
                    <a:pt x="132" y="43"/>
                  </a:lnTo>
                  <a:lnTo>
                    <a:pt x="138" y="66"/>
                  </a:lnTo>
                  <a:lnTo>
                    <a:pt x="132" y="92"/>
                  </a:lnTo>
                  <a:lnTo>
                    <a:pt x="118" y="115"/>
                  </a:lnTo>
                  <a:lnTo>
                    <a:pt x="95" y="129"/>
                  </a:lnTo>
                  <a:lnTo>
                    <a:pt x="72" y="135"/>
                  </a:lnTo>
                  <a:lnTo>
                    <a:pt x="43" y="132"/>
                  </a:lnTo>
                  <a:lnTo>
                    <a:pt x="20" y="115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3"/>
                  </a:lnTo>
                  <a:lnTo>
                    <a:pt x="20" y="20"/>
                  </a:lnTo>
                  <a:lnTo>
                    <a:pt x="43" y="5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9" name="Freeform 117">
              <a:extLst>
                <a:ext uri="{FF2B5EF4-FFF2-40B4-BE49-F238E27FC236}">
                  <a16:creationId xmlns:a16="http://schemas.microsoft.com/office/drawing/2014/main" id="{558602A0-E417-4542-BEC4-A8FEA676ABF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731404" y="4499652"/>
              <a:ext cx="108808" cy="108008"/>
            </a:xfrm>
            <a:custGeom>
              <a:avLst/>
              <a:gdLst>
                <a:gd name="T0" fmla="*/ 67 w 136"/>
                <a:gd name="T1" fmla="*/ 0 h 135"/>
                <a:gd name="T2" fmla="*/ 93 w 136"/>
                <a:gd name="T3" fmla="*/ 6 h 135"/>
                <a:gd name="T4" fmla="*/ 116 w 136"/>
                <a:gd name="T5" fmla="*/ 20 h 135"/>
                <a:gd name="T6" fmla="*/ 130 w 136"/>
                <a:gd name="T7" fmla="*/ 40 h 135"/>
                <a:gd name="T8" fmla="*/ 136 w 136"/>
                <a:gd name="T9" fmla="*/ 66 h 135"/>
                <a:gd name="T10" fmla="*/ 130 w 136"/>
                <a:gd name="T11" fmla="*/ 92 h 135"/>
                <a:gd name="T12" fmla="*/ 116 w 136"/>
                <a:gd name="T13" fmla="*/ 115 h 135"/>
                <a:gd name="T14" fmla="*/ 93 w 136"/>
                <a:gd name="T15" fmla="*/ 129 h 135"/>
                <a:gd name="T16" fmla="*/ 69 w 136"/>
                <a:gd name="T17" fmla="*/ 135 h 135"/>
                <a:gd name="T18" fmla="*/ 41 w 136"/>
                <a:gd name="T19" fmla="*/ 129 h 135"/>
                <a:gd name="T20" fmla="*/ 20 w 136"/>
                <a:gd name="T21" fmla="*/ 115 h 135"/>
                <a:gd name="T22" fmla="*/ 3 w 136"/>
                <a:gd name="T23" fmla="*/ 95 h 135"/>
                <a:gd name="T24" fmla="*/ 0 w 136"/>
                <a:gd name="T25" fmla="*/ 69 h 135"/>
                <a:gd name="T26" fmla="*/ 3 w 136"/>
                <a:gd name="T27" fmla="*/ 43 h 135"/>
                <a:gd name="T28" fmla="*/ 18 w 136"/>
                <a:gd name="T29" fmla="*/ 20 h 135"/>
                <a:gd name="T30" fmla="*/ 41 w 136"/>
                <a:gd name="T31" fmla="*/ 6 h 135"/>
                <a:gd name="T32" fmla="*/ 67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7" y="0"/>
                  </a:moveTo>
                  <a:lnTo>
                    <a:pt x="93" y="6"/>
                  </a:lnTo>
                  <a:lnTo>
                    <a:pt x="116" y="20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0" y="92"/>
                  </a:lnTo>
                  <a:lnTo>
                    <a:pt x="116" y="115"/>
                  </a:lnTo>
                  <a:lnTo>
                    <a:pt x="93" y="129"/>
                  </a:lnTo>
                  <a:lnTo>
                    <a:pt x="69" y="135"/>
                  </a:lnTo>
                  <a:lnTo>
                    <a:pt x="41" y="129"/>
                  </a:lnTo>
                  <a:lnTo>
                    <a:pt x="20" y="115"/>
                  </a:lnTo>
                  <a:lnTo>
                    <a:pt x="3" y="95"/>
                  </a:lnTo>
                  <a:lnTo>
                    <a:pt x="0" y="69"/>
                  </a:lnTo>
                  <a:lnTo>
                    <a:pt x="3" y="43"/>
                  </a:lnTo>
                  <a:lnTo>
                    <a:pt x="18" y="20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0" name="Freeform 118">
              <a:extLst>
                <a:ext uri="{FF2B5EF4-FFF2-40B4-BE49-F238E27FC236}">
                  <a16:creationId xmlns:a16="http://schemas.microsoft.com/office/drawing/2014/main" id="{1F42D66F-BF48-4552-8C97-B2E73389C78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156962" y="2196284"/>
              <a:ext cx="108808" cy="108008"/>
            </a:xfrm>
            <a:custGeom>
              <a:avLst/>
              <a:gdLst>
                <a:gd name="T0" fmla="*/ 66 w 136"/>
                <a:gd name="T1" fmla="*/ 0 h 135"/>
                <a:gd name="T2" fmla="*/ 92 w 136"/>
                <a:gd name="T3" fmla="*/ 6 h 135"/>
                <a:gd name="T4" fmla="*/ 115 w 136"/>
                <a:gd name="T5" fmla="*/ 20 h 135"/>
                <a:gd name="T6" fmla="*/ 130 w 136"/>
                <a:gd name="T7" fmla="*/ 40 h 135"/>
                <a:gd name="T8" fmla="*/ 136 w 136"/>
                <a:gd name="T9" fmla="*/ 66 h 135"/>
                <a:gd name="T10" fmla="*/ 130 w 136"/>
                <a:gd name="T11" fmla="*/ 95 h 135"/>
                <a:gd name="T12" fmla="*/ 115 w 136"/>
                <a:gd name="T13" fmla="*/ 118 h 135"/>
                <a:gd name="T14" fmla="*/ 95 w 136"/>
                <a:gd name="T15" fmla="*/ 133 h 135"/>
                <a:gd name="T16" fmla="*/ 69 w 136"/>
                <a:gd name="T17" fmla="*/ 135 h 135"/>
                <a:gd name="T18" fmla="*/ 43 w 136"/>
                <a:gd name="T19" fmla="*/ 133 h 135"/>
                <a:gd name="T20" fmla="*/ 20 w 136"/>
                <a:gd name="T21" fmla="*/ 115 h 135"/>
                <a:gd name="T22" fmla="*/ 6 w 136"/>
                <a:gd name="T23" fmla="*/ 95 h 135"/>
                <a:gd name="T24" fmla="*/ 0 w 136"/>
                <a:gd name="T25" fmla="*/ 69 h 135"/>
                <a:gd name="T26" fmla="*/ 6 w 136"/>
                <a:gd name="T27" fmla="*/ 43 h 135"/>
                <a:gd name="T28" fmla="*/ 20 w 136"/>
                <a:gd name="T29" fmla="*/ 20 h 135"/>
                <a:gd name="T30" fmla="*/ 40 w 136"/>
                <a:gd name="T31" fmla="*/ 6 h 135"/>
                <a:gd name="T32" fmla="*/ 66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6" y="0"/>
                  </a:moveTo>
                  <a:lnTo>
                    <a:pt x="92" y="6"/>
                  </a:lnTo>
                  <a:lnTo>
                    <a:pt x="115" y="20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0" y="95"/>
                  </a:lnTo>
                  <a:lnTo>
                    <a:pt x="115" y="118"/>
                  </a:lnTo>
                  <a:lnTo>
                    <a:pt x="95" y="133"/>
                  </a:lnTo>
                  <a:lnTo>
                    <a:pt x="69" y="135"/>
                  </a:lnTo>
                  <a:lnTo>
                    <a:pt x="43" y="133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1" name="Freeform 119">
              <a:extLst>
                <a:ext uri="{FF2B5EF4-FFF2-40B4-BE49-F238E27FC236}">
                  <a16:creationId xmlns:a16="http://schemas.microsoft.com/office/drawing/2014/main" id="{0B3EF2BE-B1C1-4235-B51B-E7E356AC69E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629070" y="5080495"/>
              <a:ext cx="110408" cy="108808"/>
            </a:xfrm>
            <a:custGeom>
              <a:avLst/>
              <a:gdLst>
                <a:gd name="T0" fmla="*/ 69 w 138"/>
                <a:gd name="T1" fmla="*/ 0 h 136"/>
                <a:gd name="T2" fmla="*/ 95 w 138"/>
                <a:gd name="T3" fmla="*/ 6 h 136"/>
                <a:gd name="T4" fmla="*/ 118 w 138"/>
                <a:gd name="T5" fmla="*/ 21 h 136"/>
                <a:gd name="T6" fmla="*/ 133 w 138"/>
                <a:gd name="T7" fmla="*/ 41 h 136"/>
                <a:gd name="T8" fmla="*/ 138 w 138"/>
                <a:gd name="T9" fmla="*/ 67 h 136"/>
                <a:gd name="T10" fmla="*/ 133 w 138"/>
                <a:gd name="T11" fmla="*/ 93 h 136"/>
                <a:gd name="T12" fmla="*/ 118 w 138"/>
                <a:gd name="T13" fmla="*/ 116 h 136"/>
                <a:gd name="T14" fmla="*/ 95 w 138"/>
                <a:gd name="T15" fmla="*/ 130 h 136"/>
                <a:gd name="T16" fmla="*/ 69 w 138"/>
                <a:gd name="T17" fmla="*/ 136 h 136"/>
                <a:gd name="T18" fmla="*/ 43 w 138"/>
                <a:gd name="T19" fmla="*/ 133 h 136"/>
                <a:gd name="T20" fmla="*/ 20 w 138"/>
                <a:gd name="T21" fmla="*/ 116 h 136"/>
                <a:gd name="T22" fmla="*/ 6 w 138"/>
                <a:gd name="T23" fmla="*/ 96 h 136"/>
                <a:gd name="T24" fmla="*/ 0 w 138"/>
                <a:gd name="T25" fmla="*/ 70 h 136"/>
                <a:gd name="T26" fmla="*/ 6 w 138"/>
                <a:gd name="T27" fmla="*/ 44 h 136"/>
                <a:gd name="T28" fmla="*/ 20 w 138"/>
                <a:gd name="T29" fmla="*/ 21 h 136"/>
                <a:gd name="T30" fmla="*/ 43 w 138"/>
                <a:gd name="T31" fmla="*/ 6 h 136"/>
                <a:gd name="T32" fmla="*/ 69 w 138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6">
                  <a:moveTo>
                    <a:pt x="69" y="0"/>
                  </a:moveTo>
                  <a:lnTo>
                    <a:pt x="95" y="6"/>
                  </a:lnTo>
                  <a:lnTo>
                    <a:pt x="118" y="21"/>
                  </a:lnTo>
                  <a:lnTo>
                    <a:pt x="133" y="41"/>
                  </a:lnTo>
                  <a:lnTo>
                    <a:pt x="138" y="67"/>
                  </a:lnTo>
                  <a:lnTo>
                    <a:pt x="133" y="93"/>
                  </a:lnTo>
                  <a:lnTo>
                    <a:pt x="118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3"/>
                  </a:lnTo>
                  <a:lnTo>
                    <a:pt x="20" y="116"/>
                  </a:lnTo>
                  <a:lnTo>
                    <a:pt x="6" y="96"/>
                  </a:lnTo>
                  <a:lnTo>
                    <a:pt x="0" y="70"/>
                  </a:lnTo>
                  <a:lnTo>
                    <a:pt x="6" y="44"/>
                  </a:lnTo>
                  <a:lnTo>
                    <a:pt x="20" y="21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2" name="Freeform 120">
              <a:extLst>
                <a:ext uri="{FF2B5EF4-FFF2-40B4-BE49-F238E27FC236}">
                  <a16:creationId xmlns:a16="http://schemas.microsoft.com/office/drawing/2014/main" id="{4908BA3A-3AE4-4008-A0C2-4E8B4039D29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409854" y="5038891"/>
              <a:ext cx="108008" cy="108808"/>
            </a:xfrm>
            <a:custGeom>
              <a:avLst/>
              <a:gdLst>
                <a:gd name="T0" fmla="*/ 66 w 135"/>
                <a:gd name="T1" fmla="*/ 0 h 136"/>
                <a:gd name="T2" fmla="*/ 92 w 135"/>
                <a:gd name="T3" fmla="*/ 6 h 136"/>
                <a:gd name="T4" fmla="*/ 115 w 135"/>
                <a:gd name="T5" fmla="*/ 21 h 136"/>
                <a:gd name="T6" fmla="*/ 129 w 135"/>
                <a:gd name="T7" fmla="*/ 41 h 136"/>
                <a:gd name="T8" fmla="*/ 135 w 135"/>
                <a:gd name="T9" fmla="*/ 67 h 136"/>
                <a:gd name="T10" fmla="*/ 129 w 135"/>
                <a:gd name="T11" fmla="*/ 93 h 136"/>
                <a:gd name="T12" fmla="*/ 115 w 135"/>
                <a:gd name="T13" fmla="*/ 116 h 136"/>
                <a:gd name="T14" fmla="*/ 95 w 135"/>
                <a:gd name="T15" fmla="*/ 130 h 136"/>
                <a:gd name="T16" fmla="*/ 69 w 135"/>
                <a:gd name="T17" fmla="*/ 136 h 136"/>
                <a:gd name="T18" fmla="*/ 43 w 135"/>
                <a:gd name="T19" fmla="*/ 130 h 136"/>
                <a:gd name="T20" fmla="*/ 20 w 135"/>
                <a:gd name="T21" fmla="*/ 116 h 136"/>
                <a:gd name="T22" fmla="*/ 6 w 135"/>
                <a:gd name="T23" fmla="*/ 95 h 136"/>
                <a:gd name="T24" fmla="*/ 0 w 135"/>
                <a:gd name="T25" fmla="*/ 70 h 136"/>
                <a:gd name="T26" fmla="*/ 6 w 135"/>
                <a:gd name="T27" fmla="*/ 44 h 136"/>
                <a:gd name="T28" fmla="*/ 20 w 135"/>
                <a:gd name="T29" fmla="*/ 21 h 136"/>
                <a:gd name="T30" fmla="*/ 40 w 135"/>
                <a:gd name="T31" fmla="*/ 6 h 136"/>
                <a:gd name="T32" fmla="*/ 66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6" y="0"/>
                  </a:moveTo>
                  <a:lnTo>
                    <a:pt x="92" y="6"/>
                  </a:lnTo>
                  <a:lnTo>
                    <a:pt x="115" y="21"/>
                  </a:lnTo>
                  <a:lnTo>
                    <a:pt x="129" y="41"/>
                  </a:lnTo>
                  <a:lnTo>
                    <a:pt x="135" y="67"/>
                  </a:lnTo>
                  <a:lnTo>
                    <a:pt x="129" y="93"/>
                  </a:lnTo>
                  <a:lnTo>
                    <a:pt x="115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6"/>
                  </a:lnTo>
                  <a:lnTo>
                    <a:pt x="6" y="95"/>
                  </a:lnTo>
                  <a:lnTo>
                    <a:pt x="0" y="70"/>
                  </a:lnTo>
                  <a:lnTo>
                    <a:pt x="6" y="44"/>
                  </a:lnTo>
                  <a:lnTo>
                    <a:pt x="20" y="21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3" name="Freeform 121">
              <a:extLst>
                <a:ext uri="{FF2B5EF4-FFF2-40B4-BE49-F238E27FC236}">
                  <a16:creationId xmlns:a16="http://schemas.microsoft.com/office/drawing/2014/main" id="{3B056789-8029-4864-A422-3540A4912A0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952147" y="3498779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2 w 135"/>
                <a:gd name="T3" fmla="*/ 5 h 135"/>
                <a:gd name="T4" fmla="*/ 115 w 135"/>
                <a:gd name="T5" fmla="*/ 20 h 135"/>
                <a:gd name="T6" fmla="*/ 129 w 135"/>
                <a:gd name="T7" fmla="*/ 43 h 135"/>
                <a:gd name="T8" fmla="*/ 135 w 135"/>
                <a:gd name="T9" fmla="*/ 69 h 135"/>
                <a:gd name="T10" fmla="*/ 129 w 135"/>
                <a:gd name="T11" fmla="*/ 95 h 135"/>
                <a:gd name="T12" fmla="*/ 115 w 135"/>
                <a:gd name="T13" fmla="*/ 118 h 135"/>
                <a:gd name="T14" fmla="*/ 95 w 135"/>
                <a:gd name="T15" fmla="*/ 132 h 135"/>
                <a:gd name="T16" fmla="*/ 69 w 135"/>
                <a:gd name="T17" fmla="*/ 135 h 135"/>
                <a:gd name="T18" fmla="*/ 43 w 135"/>
                <a:gd name="T19" fmla="*/ 132 h 135"/>
                <a:gd name="T20" fmla="*/ 20 w 135"/>
                <a:gd name="T21" fmla="*/ 118 h 135"/>
                <a:gd name="T22" fmla="*/ 5 w 135"/>
                <a:gd name="T23" fmla="*/ 95 h 135"/>
                <a:gd name="T24" fmla="*/ 0 w 135"/>
                <a:gd name="T25" fmla="*/ 69 h 135"/>
                <a:gd name="T26" fmla="*/ 5 w 135"/>
                <a:gd name="T27" fmla="*/ 43 h 135"/>
                <a:gd name="T28" fmla="*/ 20 w 135"/>
                <a:gd name="T29" fmla="*/ 20 h 135"/>
                <a:gd name="T30" fmla="*/ 40 w 135"/>
                <a:gd name="T31" fmla="*/ 5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2" y="5"/>
                  </a:lnTo>
                  <a:lnTo>
                    <a:pt x="115" y="20"/>
                  </a:lnTo>
                  <a:lnTo>
                    <a:pt x="129" y="43"/>
                  </a:lnTo>
                  <a:lnTo>
                    <a:pt x="135" y="69"/>
                  </a:lnTo>
                  <a:lnTo>
                    <a:pt x="129" y="95"/>
                  </a:lnTo>
                  <a:lnTo>
                    <a:pt x="115" y="118"/>
                  </a:lnTo>
                  <a:lnTo>
                    <a:pt x="95" y="132"/>
                  </a:lnTo>
                  <a:lnTo>
                    <a:pt x="69" y="135"/>
                  </a:lnTo>
                  <a:lnTo>
                    <a:pt x="43" y="132"/>
                  </a:lnTo>
                  <a:lnTo>
                    <a:pt x="20" y="118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3"/>
                  </a:lnTo>
                  <a:lnTo>
                    <a:pt x="20" y="20"/>
                  </a:lnTo>
                  <a:lnTo>
                    <a:pt x="40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4" name="Freeform 122">
              <a:extLst>
                <a:ext uri="{FF2B5EF4-FFF2-40B4-BE49-F238E27FC236}">
                  <a16:creationId xmlns:a16="http://schemas.microsoft.com/office/drawing/2014/main" id="{D1C0252A-EFC0-4448-B0B2-7D7AB90EBD9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394580" y="1591440"/>
              <a:ext cx="108808" cy="111208"/>
            </a:xfrm>
            <a:custGeom>
              <a:avLst/>
              <a:gdLst>
                <a:gd name="T0" fmla="*/ 66 w 136"/>
                <a:gd name="T1" fmla="*/ 0 h 139"/>
                <a:gd name="T2" fmla="*/ 92 w 136"/>
                <a:gd name="T3" fmla="*/ 6 h 139"/>
                <a:gd name="T4" fmla="*/ 115 w 136"/>
                <a:gd name="T5" fmla="*/ 20 h 139"/>
                <a:gd name="T6" fmla="*/ 130 w 136"/>
                <a:gd name="T7" fmla="*/ 41 h 139"/>
                <a:gd name="T8" fmla="*/ 136 w 136"/>
                <a:gd name="T9" fmla="*/ 67 h 139"/>
                <a:gd name="T10" fmla="*/ 130 w 136"/>
                <a:gd name="T11" fmla="*/ 95 h 139"/>
                <a:gd name="T12" fmla="*/ 115 w 136"/>
                <a:gd name="T13" fmla="*/ 118 h 139"/>
                <a:gd name="T14" fmla="*/ 95 w 136"/>
                <a:gd name="T15" fmla="*/ 133 h 139"/>
                <a:gd name="T16" fmla="*/ 69 w 136"/>
                <a:gd name="T17" fmla="*/ 139 h 139"/>
                <a:gd name="T18" fmla="*/ 43 w 136"/>
                <a:gd name="T19" fmla="*/ 133 h 139"/>
                <a:gd name="T20" fmla="*/ 20 w 136"/>
                <a:gd name="T21" fmla="*/ 116 h 139"/>
                <a:gd name="T22" fmla="*/ 6 w 136"/>
                <a:gd name="T23" fmla="*/ 95 h 139"/>
                <a:gd name="T24" fmla="*/ 0 w 136"/>
                <a:gd name="T25" fmla="*/ 69 h 139"/>
                <a:gd name="T26" fmla="*/ 6 w 136"/>
                <a:gd name="T27" fmla="*/ 43 h 139"/>
                <a:gd name="T28" fmla="*/ 20 w 136"/>
                <a:gd name="T29" fmla="*/ 20 h 139"/>
                <a:gd name="T30" fmla="*/ 41 w 136"/>
                <a:gd name="T31" fmla="*/ 6 h 139"/>
                <a:gd name="T32" fmla="*/ 66 w 136"/>
                <a:gd name="T33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9">
                  <a:moveTo>
                    <a:pt x="66" y="0"/>
                  </a:moveTo>
                  <a:lnTo>
                    <a:pt x="92" y="6"/>
                  </a:lnTo>
                  <a:lnTo>
                    <a:pt x="115" y="20"/>
                  </a:lnTo>
                  <a:lnTo>
                    <a:pt x="130" y="41"/>
                  </a:lnTo>
                  <a:lnTo>
                    <a:pt x="136" y="67"/>
                  </a:lnTo>
                  <a:lnTo>
                    <a:pt x="130" y="95"/>
                  </a:lnTo>
                  <a:lnTo>
                    <a:pt x="115" y="118"/>
                  </a:lnTo>
                  <a:lnTo>
                    <a:pt x="95" y="133"/>
                  </a:lnTo>
                  <a:lnTo>
                    <a:pt x="69" y="139"/>
                  </a:lnTo>
                  <a:lnTo>
                    <a:pt x="43" y="133"/>
                  </a:lnTo>
                  <a:lnTo>
                    <a:pt x="20" y="116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1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5" name="Freeform 123">
              <a:extLst>
                <a:ext uri="{FF2B5EF4-FFF2-40B4-BE49-F238E27FC236}">
                  <a16:creationId xmlns:a16="http://schemas.microsoft.com/office/drawing/2014/main" id="{D66B8596-15F2-47CE-9A2C-C88627A3E51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563392" y="1446630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2 w 135"/>
                <a:gd name="T3" fmla="*/ 5 h 135"/>
                <a:gd name="T4" fmla="*/ 115 w 135"/>
                <a:gd name="T5" fmla="*/ 20 h 135"/>
                <a:gd name="T6" fmla="*/ 129 w 135"/>
                <a:gd name="T7" fmla="*/ 40 h 135"/>
                <a:gd name="T8" fmla="*/ 135 w 135"/>
                <a:gd name="T9" fmla="*/ 66 h 135"/>
                <a:gd name="T10" fmla="*/ 129 w 135"/>
                <a:gd name="T11" fmla="*/ 92 h 135"/>
                <a:gd name="T12" fmla="*/ 115 w 135"/>
                <a:gd name="T13" fmla="*/ 115 h 135"/>
                <a:gd name="T14" fmla="*/ 92 w 135"/>
                <a:gd name="T15" fmla="*/ 129 h 135"/>
                <a:gd name="T16" fmla="*/ 66 w 135"/>
                <a:gd name="T17" fmla="*/ 135 h 135"/>
                <a:gd name="T18" fmla="*/ 40 w 135"/>
                <a:gd name="T19" fmla="*/ 129 h 135"/>
                <a:gd name="T20" fmla="*/ 17 w 135"/>
                <a:gd name="T21" fmla="*/ 115 h 135"/>
                <a:gd name="T22" fmla="*/ 3 w 135"/>
                <a:gd name="T23" fmla="*/ 95 h 135"/>
                <a:gd name="T24" fmla="*/ 0 w 135"/>
                <a:gd name="T25" fmla="*/ 69 h 135"/>
                <a:gd name="T26" fmla="*/ 3 w 135"/>
                <a:gd name="T27" fmla="*/ 43 h 135"/>
                <a:gd name="T28" fmla="*/ 17 w 135"/>
                <a:gd name="T29" fmla="*/ 20 h 135"/>
                <a:gd name="T30" fmla="*/ 40 w 135"/>
                <a:gd name="T31" fmla="*/ 5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2" y="5"/>
                  </a:lnTo>
                  <a:lnTo>
                    <a:pt x="115" y="20"/>
                  </a:lnTo>
                  <a:lnTo>
                    <a:pt x="129" y="40"/>
                  </a:lnTo>
                  <a:lnTo>
                    <a:pt x="135" y="66"/>
                  </a:lnTo>
                  <a:lnTo>
                    <a:pt x="129" y="92"/>
                  </a:lnTo>
                  <a:lnTo>
                    <a:pt x="115" y="115"/>
                  </a:lnTo>
                  <a:lnTo>
                    <a:pt x="92" y="129"/>
                  </a:lnTo>
                  <a:lnTo>
                    <a:pt x="66" y="135"/>
                  </a:lnTo>
                  <a:lnTo>
                    <a:pt x="40" y="129"/>
                  </a:lnTo>
                  <a:lnTo>
                    <a:pt x="17" y="115"/>
                  </a:lnTo>
                  <a:lnTo>
                    <a:pt x="3" y="95"/>
                  </a:lnTo>
                  <a:lnTo>
                    <a:pt x="0" y="69"/>
                  </a:lnTo>
                  <a:lnTo>
                    <a:pt x="3" y="43"/>
                  </a:lnTo>
                  <a:lnTo>
                    <a:pt x="17" y="20"/>
                  </a:lnTo>
                  <a:lnTo>
                    <a:pt x="40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6" name="Freeform 124">
              <a:extLst>
                <a:ext uri="{FF2B5EF4-FFF2-40B4-BE49-F238E27FC236}">
                  <a16:creationId xmlns:a16="http://schemas.microsoft.com/office/drawing/2014/main" id="{C2BF0D4E-031D-44DD-ADF4-1B3DE3671F9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747405" y="1319421"/>
              <a:ext cx="108808" cy="108808"/>
            </a:xfrm>
            <a:custGeom>
              <a:avLst/>
              <a:gdLst>
                <a:gd name="T0" fmla="*/ 66 w 136"/>
                <a:gd name="T1" fmla="*/ 0 h 136"/>
                <a:gd name="T2" fmla="*/ 92 w 136"/>
                <a:gd name="T3" fmla="*/ 6 h 136"/>
                <a:gd name="T4" fmla="*/ 115 w 136"/>
                <a:gd name="T5" fmla="*/ 20 h 136"/>
                <a:gd name="T6" fmla="*/ 130 w 136"/>
                <a:gd name="T7" fmla="*/ 43 h 136"/>
                <a:gd name="T8" fmla="*/ 136 w 136"/>
                <a:gd name="T9" fmla="*/ 67 h 136"/>
                <a:gd name="T10" fmla="*/ 130 w 136"/>
                <a:gd name="T11" fmla="*/ 95 h 136"/>
                <a:gd name="T12" fmla="*/ 115 w 136"/>
                <a:gd name="T13" fmla="*/ 116 h 136"/>
                <a:gd name="T14" fmla="*/ 95 w 136"/>
                <a:gd name="T15" fmla="*/ 133 h 136"/>
                <a:gd name="T16" fmla="*/ 69 w 136"/>
                <a:gd name="T17" fmla="*/ 136 h 136"/>
                <a:gd name="T18" fmla="*/ 40 w 136"/>
                <a:gd name="T19" fmla="*/ 133 h 136"/>
                <a:gd name="T20" fmla="*/ 20 w 136"/>
                <a:gd name="T21" fmla="*/ 116 h 136"/>
                <a:gd name="T22" fmla="*/ 6 w 136"/>
                <a:gd name="T23" fmla="*/ 95 h 136"/>
                <a:gd name="T24" fmla="*/ 0 w 136"/>
                <a:gd name="T25" fmla="*/ 69 h 136"/>
                <a:gd name="T26" fmla="*/ 6 w 136"/>
                <a:gd name="T27" fmla="*/ 43 h 136"/>
                <a:gd name="T28" fmla="*/ 20 w 136"/>
                <a:gd name="T29" fmla="*/ 20 h 136"/>
                <a:gd name="T30" fmla="*/ 40 w 136"/>
                <a:gd name="T31" fmla="*/ 6 h 136"/>
                <a:gd name="T32" fmla="*/ 66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6" y="0"/>
                  </a:moveTo>
                  <a:lnTo>
                    <a:pt x="92" y="6"/>
                  </a:lnTo>
                  <a:lnTo>
                    <a:pt x="115" y="20"/>
                  </a:lnTo>
                  <a:lnTo>
                    <a:pt x="130" y="43"/>
                  </a:lnTo>
                  <a:lnTo>
                    <a:pt x="136" y="67"/>
                  </a:lnTo>
                  <a:lnTo>
                    <a:pt x="130" y="95"/>
                  </a:lnTo>
                  <a:lnTo>
                    <a:pt x="115" y="116"/>
                  </a:lnTo>
                  <a:lnTo>
                    <a:pt x="95" y="133"/>
                  </a:lnTo>
                  <a:lnTo>
                    <a:pt x="69" y="136"/>
                  </a:lnTo>
                  <a:lnTo>
                    <a:pt x="40" y="133"/>
                  </a:lnTo>
                  <a:lnTo>
                    <a:pt x="20" y="116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7" name="Freeform 125">
              <a:extLst>
                <a:ext uri="{FF2B5EF4-FFF2-40B4-BE49-F238E27FC236}">
                  <a16:creationId xmlns:a16="http://schemas.microsoft.com/office/drawing/2014/main" id="{F7813228-EA51-42B4-B84D-90B905F3D24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943420" y="1211413"/>
              <a:ext cx="108808" cy="108008"/>
            </a:xfrm>
            <a:custGeom>
              <a:avLst/>
              <a:gdLst>
                <a:gd name="T0" fmla="*/ 66 w 136"/>
                <a:gd name="T1" fmla="*/ 0 h 135"/>
                <a:gd name="T2" fmla="*/ 92 w 136"/>
                <a:gd name="T3" fmla="*/ 5 h 135"/>
                <a:gd name="T4" fmla="*/ 115 w 136"/>
                <a:gd name="T5" fmla="*/ 20 h 135"/>
                <a:gd name="T6" fmla="*/ 130 w 136"/>
                <a:gd name="T7" fmla="*/ 43 h 135"/>
                <a:gd name="T8" fmla="*/ 136 w 136"/>
                <a:gd name="T9" fmla="*/ 66 h 135"/>
                <a:gd name="T10" fmla="*/ 130 w 136"/>
                <a:gd name="T11" fmla="*/ 95 h 135"/>
                <a:gd name="T12" fmla="*/ 115 w 136"/>
                <a:gd name="T13" fmla="*/ 115 h 135"/>
                <a:gd name="T14" fmla="*/ 95 w 136"/>
                <a:gd name="T15" fmla="*/ 132 h 135"/>
                <a:gd name="T16" fmla="*/ 69 w 136"/>
                <a:gd name="T17" fmla="*/ 135 h 135"/>
                <a:gd name="T18" fmla="*/ 43 w 136"/>
                <a:gd name="T19" fmla="*/ 132 h 135"/>
                <a:gd name="T20" fmla="*/ 20 w 136"/>
                <a:gd name="T21" fmla="*/ 115 h 135"/>
                <a:gd name="T22" fmla="*/ 6 w 136"/>
                <a:gd name="T23" fmla="*/ 95 h 135"/>
                <a:gd name="T24" fmla="*/ 0 w 136"/>
                <a:gd name="T25" fmla="*/ 69 h 135"/>
                <a:gd name="T26" fmla="*/ 3 w 136"/>
                <a:gd name="T27" fmla="*/ 43 h 135"/>
                <a:gd name="T28" fmla="*/ 20 w 136"/>
                <a:gd name="T29" fmla="*/ 20 h 135"/>
                <a:gd name="T30" fmla="*/ 40 w 136"/>
                <a:gd name="T31" fmla="*/ 5 h 135"/>
                <a:gd name="T32" fmla="*/ 66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6" y="0"/>
                  </a:moveTo>
                  <a:lnTo>
                    <a:pt x="92" y="5"/>
                  </a:lnTo>
                  <a:lnTo>
                    <a:pt x="115" y="20"/>
                  </a:lnTo>
                  <a:lnTo>
                    <a:pt x="130" y="43"/>
                  </a:lnTo>
                  <a:lnTo>
                    <a:pt x="136" y="66"/>
                  </a:lnTo>
                  <a:lnTo>
                    <a:pt x="130" y="95"/>
                  </a:lnTo>
                  <a:lnTo>
                    <a:pt x="115" y="115"/>
                  </a:lnTo>
                  <a:lnTo>
                    <a:pt x="95" y="132"/>
                  </a:lnTo>
                  <a:lnTo>
                    <a:pt x="69" y="135"/>
                  </a:lnTo>
                  <a:lnTo>
                    <a:pt x="43" y="132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3" y="43"/>
                  </a:lnTo>
                  <a:lnTo>
                    <a:pt x="20" y="20"/>
                  </a:lnTo>
                  <a:lnTo>
                    <a:pt x="40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8" name="Freeform 126">
              <a:extLst>
                <a:ext uri="{FF2B5EF4-FFF2-40B4-BE49-F238E27FC236}">
                  <a16:creationId xmlns:a16="http://schemas.microsoft.com/office/drawing/2014/main" id="{E01071D4-2672-46EA-8402-B9B5FB3570E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149035" y="1123406"/>
              <a:ext cx="110408" cy="108808"/>
            </a:xfrm>
            <a:custGeom>
              <a:avLst/>
              <a:gdLst>
                <a:gd name="T0" fmla="*/ 69 w 138"/>
                <a:gd name="T1" fmla="*/ 0 h 136"/>
                <a:gd name="T2" fmla="*/ 95 w 138"/>
                <a:gd name="T3" fmla="*/ 6 h 136"/>
                <a:gd name="T4" fmla="*/ 115 w 138"/>
                <a:gd name="T5" fmla="*/ 20 h 136"/>
                <a:gd name="T6" fmla="*/ 132 w 138"/>
                <a:gd name="T7" fmla="*/ 41 h 136"/>
                <a:gd name="T8" fmla="*/ 138 w 138"/>
                <a:gd name="T9" fmla="*/ 66 h 136"/>
                <a:gd name="T10" fmla="*/ 132 w 138"/>
                <a:gd name="T11" fmla="*/ 92 h 136"/>
                <a:gd name="T12" fmla="*/ 118 w 138"/>
                <a:gd name="T13" fmla="*/ 115 h 136"/>
                <a:gd name="T14" fmla="*/ 95 w 138"/>
                <a:gd name="T15" fmla="*/ 130 h 136"/>
                <a:gd name="T16" fmla="*/ 69 w 138"/>
                <a:gd name="T17" fmla="*/ 136 h 136"/>
                <a:gd name="T18" fmla="*/ 43 w 138"/>
                <a:gd name="T19" fmla="*/ 133 h 136"/>
                <a:gd name="T20" fmla="*/ 20 w 138"/>
                <a:gd name="T21" fmla="*/ 118 h 136"/>
                <a:gd name="T22" fmla="*/ 5 w 138"/>
                <a:gd name="T23" fmla="*/ 95 h 136"/>
                <a:gd name="T24" fmla="*/ 0 w 138"/>
                <a:gd name="T25" fmla="*/ 69 h 136"/>
                <a:gd name="T26" fmla="*/ 5 w 138"/>
                <a:gd name="T27" fmla="*/ 43 h 136"/>
                <a:gd name="T28" fmla="*/ 20 w 138"/>
                <a:gd name="T29" fmla="*/ 20 h 136"/>
                <a:gd name="T30" fmla="*/ 43 w 138"/>
                <a:gd name="T31" fmla="*/ 6 h 136"/>
                <a:gd name="T32" fmla="*/ 69 w 138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6">
                  <a:moveTo>
                    <a:pt x="69" y="0"/>
                  </a:moveTo>
                  <a:lnTo>
                    <a:pt x="95" y="6"/>
                  </a:lnTo>
                  <a:lnTo>
                    <a:pt x="115" y="20"/>
                  </a:lnTo>
                  <a:lnTo>
                    <a:pt x="132" y="41"/>
                  </a:lnTo>
                  <a:lnTo>
                    <a:pt x="138" y="66"/>
                  </a:lnTo>
                  <a:lnTo>
                    <a:pt x="132" y="92"/>
                  </a:lnTo>
                  <a:lnTo>
                    <a:pt x="118" y="115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3"/>
                  </a:lnTo>
                  <a:lnTo>
                    <a:pt x="20" y="118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9" name="Freeform 127">
              <a:extLst>
                <a:ext uri="{FF2B5EF4-FFF2-40B4-BE49-F238E27FC236}">
                  <a16:creationId xmlns:a16="http://schemas.microsoft.com/office/drawing/2014/main" id="{CF70CA2D-D990-4105-B6D2-387FE165297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363450" y="1057002"/>
              <a:ext cx="110408" cy="110408"/>
            </a:xfrm>
            <a:custGeom>
              <a:avLst/>
              <a:gdLst>
                <a:gd name="T0" fmla="*/ 69 w 138"/>
                <a:gd name="T1" fmla="*/ 0 h 138"/>
                <a:gd name="T2" fmla="*/ 95 w 138"/>
                <a:gd name="T3" fmla="*/ 6 h 138"/>
                <a:gd name="T4" fmla="*/ 118 w 138"/>
                <a:gd name="T5" fmla="*/ 20 h 138"/>
                <a:gd name="T6" fmla="*/ 132 w 138"/>
                <a:gd name="T7" fmla="*/ 43 h 138"/>
                <a:gd name="T8" fmla="*/ 138 w 138"/>
                <a:gd name="T9" fmla="*/ 69 h 138"/>
                <a:gd name="T10" fmla="*/ 132 w 138"/>
                <a:gd name="T11" fmla="*/ 95 h 138"/>
                <a:gd name="T12" fmla="*/ 118 w 138"/>
                <a:gd name="T13" fmla="*/ 118 h 138"/>
                <a:gd name="T14" fmla="*/ 95 w 138"/>
                <a:gd name="T15" fmla="*/ 132 h 138"/>
                <a:gd name="T16" fmla="*/ 69 w 138"/>
                <a:gd name="T17" fmla="*/ 138 h 138"/>
                <a:gd name="T18" fmla="*/ 43 w 138"/>
                <a:gd name="T19" fmla="*/ 132 h 138"/>
                <a:gd name="T20" fmla="*/ 20 w 138"/>
                <a:gd name="T21" fmla="*/ 118 h 138"/>
                <a:gd name="T22" fmla="*/ 5 w 138"/>
                <a:gd name="T23" fmla="*/ 95 h 138"/>
                <a:gd name="T24" fmla="*/ 0 w 138"/>
                <a:gd name="T25" fmla="*/ 69 h 138"/>
                <a:gd name="T26" fmla="*/ 5 w 138"/>
                <a:gd name="T27" fmla="*/ 43 h 138"/>
                <a:gd name="T28" fmla="*/ 20 w 138"/>
                <a:gd name="T29" fmla="*/ 20 h 138"/>
                <a:gd name="T30" fmla="*/ 43 w 138"/>
                <a:gd name="T31" fmla="*/ 6 h 138"/>
                <a:gd name="T32" fmla="*/ 69 w 138"/>
                <a:gd name="T3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8">
                  <a:moveTo>
                    <a:pt x="69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2" y="43"/>
                  </a:lnTo>
                  <a:lnTo>
                    <a:pt x="138" y="69"/>
                  </a:lnTo>
                  <a:lnTo>
                    <a:pt x="132" y="95"/>
                  </a:lnTo>
                  <a:lnTo>
                    <a:pt x="118" y="118"/>
                  </a:lnTo>
                  <a:lnTo>
                    <a:pt x="95" y="132"/>
                  </a:lnTo>
                  <a:lnTo>
                    <a:pt x="69" y="138"/>
                  </a:lnTo>
                  <a:lnTo>
                    <a:pt x="43" y="132"/>
                  </a:lnTo>
                  <a:lnTo>
                    <a:pt x="20" y="118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20" name="Freeform 128">
              <a:extLst>
                <a:ext uri="{FF2B5EF4-FFF2-40B4-BE49-F238E27FC236}">
                  <a16:creationId xmlns:a16="http://schemas.microsoft.com/office/drawing/2014/main" id="{85EC864E-8BF3-4CCA-8BFB-FAD5083C684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585066" y="1015398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5 w 135"/>
                <a:gd name="T3" fmla="*/ 5 h 135"/>
                <a:gd name="T4" fmla="*/ 115 w 135"/>
                <a:gd name="T5" fmla="*/ 20 h 135"/>
                <a:gd name="T6" fmla="*/ 129 w 135"/>
                <a:gd name="T7" fmla="*/ 40 h 135"/>
                <a:gd name="T8" fmla="*/ 135 w 135"/>
                <a:gd name="T9" fmla="*/ 66 h 135"/>
                <a:gd name="T10" fmla="*/ 129 w 135"/>
                <a:gd name="T11" fmla="*/ 92 h 135"/>
                <a:gd name="T12" fmla="*/ 115 w 135"/>
                <a:gd name="T13" fmla="*/ 115 h 135"/>
                <a:gd name="T14" fmla="*/ 95 w 135"/>
                <a:gd name="T15" fmla="*/ 129 h 135"/>
                <a:gd name="T16" fmla="*/ 69 w 135"/>
                <a:gd name="T17" fmla="*/ 135 h 135"/>
                <a:gd name="T18" fmla="*/ 43 w 135"/>
                <a:gd name="T19" fmla="*/ 129 h 135"/>
                <a:gd name="T20" fmla="*/ 20 w 135"/>
                <a:gd name="T21" fmla="*/ 115 h 135"/>
                <a:gd name="T22" fmla="*/ 5 w 135"/>
                <a:gd name="T23" fmla="*/ 95 h 135"/>
                <a:gd name="T24" fmla="*/ 0 w 135"/>
                <a:gd name="T25" fmla="*/ 69 h 135"/>
                <a:gd name="T26" fmla="*/ 5 w 135"/>
                <a:gd name="T27" fmla="*/ 40 h 135"/>
                <a:gd name="T28" fmla="*/ 20 w 135"/>
                <a:gd name="T29" fmla="*/ 20 h 135"/>
                <a:gd name="T30" fmla="*/ 40 w 135"/>
                <a:gd name="T31" fmla="*/ 5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5" y="5"/>
                  </a:lnTo>
                  <a:lnTo>
                    <a:pt x="115" y="20"/>
                  </a:lnTo>
                  <a:lnTo>
                    <a:pt x="129" y="40"/>
                  </a:lnTo>
                  <a:lnTo>
                    <a:pt x="135" y="66"/>
                  </a:lnTo>
                  <a:lnTo>
                    <a:pt x="129" y="92"/>
                  </a:lnTo>
                  <a:lnTo>
                    <a:pt x="115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3" y="129"/>
                  </a:lnTo>
                  <a:lnTo>
                    <a:pt x="20" y="115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0"/>
                  </a:lnTo>
                  <a:lnTo>
                    <a:pt x="20" y="20"/>
                  </a:lnTo>
                  <a:lnTo>
                    <a:pt x="40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21" name="Freeform 129">
              <a:extLst>
                <a:ext uri="{FF2B5EF4-FFF2-40B4-BE49-F238E27FC236}">
                  <a16:creationId xmlns:a16="http://schemas.microsoft.com/office/drawing/2014/main" id="{4EB2D4F8-C37B-42A8-B256-C86710C87B3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806682" y="996997"/>
              <a:ext cx="110408" cy="108008"/>
            </a:xfrm>
            <a:custGeom>
              <a:avLst/>
              <a:gdLst>
                <a:gd name="T0" fmla="*/ 66 w 138"/>
                <a:gd name="T1" fmla="*/ 0 h 135"/>
                <a:gd name="T2" fmla="*/ 95 w 138"/>
                <a:gd name="T3" fmla="*/ 5 h 135"/>
                <a:gd name="T4" fmla="*/ 115 w 138"/>
                <a:gd name="T5" fmla="*/ 20 h 135"/>
                <a:gd name="T6" fmla="*/ 133 w 138"/>
                <a:gd name="T7" fmla="*/ 43 h 135"/>
                <a:gd name="T8" fmla="*/ 138 w 138"/>
                <a:gd name="T9" fmla="*/ 66 h 135"/>
                <a:gd name="T10" fmla="*/ 133 w 138"/>
                <a:gd name="T11" fmla="*/ 95 h 135"/>
                <a:gd name="T12" fmla="*/ 118 w 138"/>
                <a:gd name="T13" fmla="*/ 115 h 135"/>
                <a:gd name="T14" fmla="*/ 95 w 138"/>
                <a:gd name="T15" fmla="*/ 129 h 135"/>
                <a:gd name="T16" fmla="*/ 69 w 138"/>
                <a:gd name="T17" fmla="*/ 135 h 135"/>
                <a:gd name="T18" fmla="*/ 43 w 138"/>
                <a:gd name="T19" fmla="*/ 132 h 135"/>
                <a:gd name="T20" fmla="*/ 20 w 138"/>
                <a:gd name="T21" fmla="*/ 118 h 135"/>
                <a:gd name="T22" fmla="*/ 6 w 138"/>
                <a:gd name="T23" fmla="*/ 95 h 135"/>
                <a:gd name="T24" fmla="*/ 0 w 138"/>
                <a:gd name="T25" fmla="*/ 69 h 135"/>
                <a:gd name="T26" fmla="*/ 6 w 138"/>
                <a:gd name="T27" fmla="*/ 43 h 135"/>
                <a:gd name="T28" fmla="*/ 20 w 138"/>
                <a:gd name="T29" fmla="*/ 20 h 135"/>
                <a:gd name="T30" fmla="*/ 43 w 138"/>
                <a:gd name="T31" fmla="*/ 5 h 135"/>
                <a:gd name="T32" fmla="*/ 66 w 138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5">
                  <a:moveTo>
                    <a:pt x="66" y="0"/>
                  </a:moveTo>
                  <a:lnTo>
                    <a:pt x="95" y="5"/>
                  </a:lnTo>
                  <a:lnTo>
                    <a:pt x="115" y="20"/>
                  </a:lnTo>
                  <a:lnTo>
                    <a:pt x="133" y="43"/>
                  </a:lnTo>
                  <a:lnTo>
                    <a:pt x="138" y="66"/>
                  </a:lnTo>
                  <a:lnTo>
                    <a:pt x="133" y="95"/>
                  </a:lnTo>
                  <a:lnTo>
                    <a:pt x="118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3" y="132"/>
                  </a:lnTo>
                  <a:lnTo>
                    <a:pt x="20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22" name="Freeform 130">
              <a:extLst>
                <a:ext uri="{FF2B5EF4-FFF2-40B4-BE49-F238E27FC236}">
                  <a16:creationId xmlns:a16="http://schemas.microsoft.com/office/drawing/2014/main" id="{3C9DA2F3-C52E-4CBC-B5D5-A4CE6A0BCF3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2032299" y="999397"/>
              <a:ext cx="108808" cy="110408"/>
            </a:xfrm>
            <a:custGeom>
              <a:avLst/>
              <a:gdLst>
                <a:gd name="T0" fmla="*/ 67 w 136"/>
                <a:gd name="T1" fmla="*/ 0 h 138"/>
                <a:gd name="T2" fmla="*/ 93 w 136"/>
                <a:gd name="T3" fmla="*/ 6 h 138"/>
                <a:gd name="T4" fmla="*/ 116 w 136"/>
                <a:gd name="T5" fmla="*/ 20 h 138"/>
                <a:gd name="T6" fmla="*/ 130 w 136"/>
                <a:gd name="T7" fmla="*/ 43 h 138"/>
                <a:gd name="T8" fmla="*/ 136 w 136"/>
                <a:gd name="T9" fmla="*/ 69 h 138"/>
                <a:gd name="T10" fmla="*/ 133 w 136"/>
                <a:gd name="T11" fmla="*/ 95 h 138"/>
                <a:gd name="T12" fmla="*/ 116 w 136"/>
                <a:gd name="T13" fmla="*/ 118 h 138"/>
                <a:gd name="T14" fmla="*/ 96 w 136"/>
                <a:gd name="T15" fmla="*/ 133 h 138"/>
                <a:gd name="T16" fmla="*/ 70 w 136"/>
                <a:gd name="T17" fmla="*/ 138 h 138"/>
                <a:gd name="T18" fmla="*/ 44 w 136"/>
                <a:gd name="T19" fmla="*/ 133 h 138"/>
                <a:gd name="T20" fmla="*/ 21 w 136"/>
                <a:gd name="T21" fmla="*/ 118 h 138"/>
                <a:gd name="T22" fmla="*/ 6 w 136"/>
                <a:gd name="T23" fmla="*/ 95 h 138"/>
                <a:gd name="T24" fmla="*/ 0 w 136"/>
                <a:gd name="T25" fmla="*/ 69 h 138"/>
                <a:gd name="T26" fmla="*/ 6 w 136"/>
                <a:gd name="T27" fmla="*/ 43 h 138"/>
                <a:gd name="T28" fmla="*/ 21 w 136"/>
                <a:gd name="T29" fmla="*/ 20 h 138"/>
                <a:gd name="T30" fmla="*/ 41 w 136"/>
                <a:gd name="T31" fmla="*/ 6 h 138"/>
                <a:gd name="T32" fmla="*/ 67 w 136"/>
                <a:gd name="T3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8">
                  <a:moveTo>
                    <a:pt x="67" y="0"/>
                  </a:moveTo>
                  <a:lnTo>
                    <a:pt x="93" y="6"/>
                  </a:lnTo>
                  <a:lnTo>
                    <a:pt x="116" y="20"/>
                  </a:lnTo>
                  <a:lnTo>
                    <a:pt x="130" y="43"/>
                  </a:lnTo>
                  <a:lnTo>
                    <a:pt x="136" y="69"/>
                  </a:lnTo>
                  <a:lnTo>
                    <a:pt x="133" y="95"/>
                  </a:lnTo>
                  <a:lnTo>
                    <a:pt x="116" y="118"/>
                  </a:lnTo>
                  <a:lnTo>
                    <a:pt x="96" y="133"/>
                  </a:lnTo>
                  <a:lnTo>
                    <a:pt x="70" y="138"/>
                  </a:lnTo>
                  <a:lnTo>
                    <a:pt x="44" y="133"/>
                  </a:lnTo>
                  <a:lnTo>
                    <a:pt x="21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1" y="20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23" name="Freeform 131">
              <a:extLst>
                <a:ext uri="{FF2B5EF4-FFF2-40B4-BE49-F238E27FC236}">
                  <a16:creationId xmlns:a16="http://schemas.microsoft.com/office/drawing/2014/main" id="{6B5F6C81-A7AD-4CF0-9BE9-CCAF74D5414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192165" y="4450849"/>
              <a:ext cx="108008" cy="108808"/>
            </a:xfrm>
            <a:custGeom>
              <a:avLst/>
              <a:gdLst>
                <a:gd name="T0" fmla="*/ 66 w 135"/>
                <a:gd name="T1" fmla="*/ 0 h 136"/>
                <a:gd name="T2" fmla="*/ 92 w 135"/>
                <a:gd name="T3" fmla="*/ 6 h 136"/>
                <a:gd name="T4" fmla="*/ 115 w 135"/>
                <a:gd name="T5" fmla="*/ 20 h 136"/>
                <a:gd name="T6" fmla="*/ 130 w 135"/>
                <a:gd name="T7" fmla="*/ 41 h 136"/>
                <a:gd name="T8" fmla="*/ 135 w 135"/>
                <a:gd name="T9" fmla="*/ 67 h 136"/>
                <a:gd name="T10" fmla="*/ 130 w 135"/>
                <a:gd name="T11" fmla="*/ 95 h 136"/>
                <a:gd name="T12" fmla="*/ 115 w 135"/>
                <a:gd name="T13" fmla="*/ 116 h 136"/>
                <a:gd name="T14" fmla="*/ 95 w 135"/>
                <a:gd name="T15" fmla="*/ 130 h 136"/>
                <a:gd name="T16" fmla="*/ 69 w 135"/>
                <a:gd name="T17" fmla="*/ 136 h 136"/>
                <a:gd name="T18" fmla="*/ 40 w 135"/>
                <a:gd name="T19" fmla="*/ 133 h 136"/>
                <a:gd name="T20" fmla="*/ 20 w 135"/>
                <a:gd name="T21" fmla="*/ 116 h 136"/>
                <a:gd name="T22" fmla="*/ 6 w 135"/>
                <a:gd name="T23" fmla="*/ 95 h 136"/>
                <a:gd name="T24" fmla="*/ 0 w 135"/>
                <a:gd name="T25" fmla="*/ 69 h 136"/>
                <a:gd name="T26" fmla="*/ 6 w 135"/>
                <a:gd name="T27" fmla="*/ 44 h 136"/>
                <a:gd name="T28" fmla="*/ 20 w 135"/>
                <a:gd name="T29" fmla="*/ 20 h 136"/>
                <a:gd name="T30" fmla="*/ 40 w 135"/>
                <a:gd name="T31" fmla="*/ 6 h 136"/>
                <a:gd name="T32" fmla="*/ 66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6" y="0"/>
                  </a:moveTo>
                  <a:lnTo>
                    <a:pt x="92" y="6"/>
                  </a:lnTo>
                  <a:lnTo>
                    <a:pt x="115" y="20"/>
                  </a:lnTo>
                  <a:lnTo>
                    <a:pt x="130" y="41"/>
                  </a:lnTo>
                  <a:lnTo>
                    <a:pt x="135" y="67"/>
                  </a:lnTo>
                  <a:lnTo>
                    <a:pt x="130" y="95"/>
                  </a:lnTo>
                  <a:lnTo>
                    <a:pt x="115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0" y="133"/>
                  </a:lnTo>
                  <a:lnTo>
                    <a:pt x="20" y="116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4"/>
                  </a:lnTo>
                  <a:lnTo>
                    <a:pt x="20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24" name="Freeform 132">
              <a:extLst>
                <a:ext uri="{FF2B5EF4-FFF2-40B4-BE49-F238E27FC236}">
                  <a16:creationId xmlns:a16="http://schemas.microsoft.com/office/drawing/2014/main" id="{00FCE165-614B-4BD0-BDA0-5D946A899B0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062555" y="4266835"/>
              <a:ext cx="111208" cy="108008"/>
            </a:xfrm>
            <a:custGeom>
              <a:avLst/>
              <a:gdLst>
                <a:gd name="T0" fmla="*/ 70 w 139"/>
                <a:gd name="T1" fmla="*/ 0 h 135"/>
                <a:gd name="T2" fmla="*/ 96 w 139"/>
                <a:gd name="T3" fmla="*/ 6 h 135"/>
                <a:gd name="T4" fmla="*/ 119 w 139"/>
                <a:gd name="T5" fmla="*/ 20 h 135"/>
                <a:gd name="T6" fmla="*/ 133 w 139"/>
                <a:gd name="T7" fmla="*/ 40 h 135"/>
                <a:gd name="T8" fmla="*/ 139 w 139"/>
                <a:gd name="T9" fmla="*/ 66 h 135"/>
                <a:gd name="T10" fmla="*/ 133 w 139"/>
                <a:gd name="T11" fmla="*/ 92 h 135"/>
                <a:gd name="T12" fmla="*/ 119 w 139"/>
                <a:gd name="T13" fmla="*/ 115 h 135"/>
                <a:gd name="T14" fmla="*/ 96 w 139"/>
                <a:gd name="T15" fmla="*/ 130 h 135"/>
                <a:gd name="T16" fmla="*/ 70 w 139"/>
                <a:gd name="T17" fmla="*/ 135 h 135"/>
                <a:gd name="T18" fmla="*/ 44 w 139"/>
                <a:gd name="T19" fmla="*/ 130 h 135"/>
                <a:gd name="T20" fmla="*/ 21 w 139"/>
                <a:gd name="T21" fmla="*/ 115 h 135"/>
                <a:gd name="T22" fmla="*/ 6 w 139"/>
                <a:gd name="T23" fmla="*/ 92 h 135"/>
                <a:gd name="T24" fmla="*/ 0 w 139"/>
                <a:gd name="T25" fmla="*/ 69 h 135"/>
                <a:gd name="T26" fmla="*/ 6 w 139"/>
                <a:gd name="T27" fmla="*/ 40 h 135"/>
                <a:gd name="T28" fmla="*/ 21 w 139"/>
                <a:gd name="T29" fmla="*/ 20 h 135"/>
                <a:gd name="T30" fmla="*/ 44 w 139"/>
                <a:gd name="T31" fmla="*/ 6 h 135"/>
                <a:gd name="T32" fmla="*/ 70 w 139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5">
                  <a:moveTo>
                    <a:pt x="70" y="0"/>
                  </a:moveTo>
                  <a:lnTo>
                    <a:pt x="96" y="6"/>
                  </a:lnTo>
                  <a:lnTo>
                    <a:pt x="119" y="20"/>
                  </a:lnTo>
                  <a:lnTo>
                    <a:pt x="133" y="40"/>
                  </a:lnTo>
                  <a:lnTo>
                    <a:pt x="139" y="66"/>
                  </a:lnTo>
                  <a:lnTo>
                    <a:pt x="133" y="92"/>
                  </a:lnTo>
                  <a:lnTo>
                    <a:pt x="119" y="115"/>
                  </a:lnTo>
                  <a:lnTo>
                    <a:pt x="96" y="130"/>
                  </a:lnTo>
                  <a:lnTo>
                    <a:pt x="70" y="135"/>
                  </a:lnTo>
                  <a:lnTo>
                    <a:pt x="44" y="130"/>
                  </a:lnTo>
                  <a:lnTo>
                    <a:pt x="21" y="115"/>
                  </a:lnTo>
                  <a:lnTo>
                    <a:pt x="6" y="92"/>
                  </a:lnTo>
                  <a:lnTo>
                    <a:pt x="0" y="69"/>
                  </a:lnTo>
                  <a:lnTo>
                    <a:pt x="6" y="40"/>
                  </a:lnTo>
                  <a:lnTo>
                    <a:pt x="21" y="20"/>
                  </a:lnTo>
                  <a:lnTo>
                    <a:pt x="44" y="6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25" name="Freeform 133">
              <a:extLst>
                <a:ext uri="{FF2B5EF4-FFF2-40B4-BE49-F238E27FC236}">
                  <a16:creationId xmlns:a16="http://schemas.microsoft.com/office/drawing/2014/main" id="{B75C77C4-40BB-4312-9FD2-E0933C639D7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954548" y="4070821"/>
              <a:ext cx="110408" cy="108008"/>
            </a:xfrm>
            <a:custGeom>
              <a:avLst/>
              <a:gdLst>
                <a:gd name="T0" fmla="*/ 69 w 138"/>
                <a:gd name="T1" fmla="*/ 0 h 135"/>
                <a:gd name="T2" fmla="*/ 95 w 138"/>
                <a:gd name="T3" fmla="*/ 3 h 135"/>
                <a:gd name="T4" fmla="*/ 118 w 138"/>
                <a:gd name="T5" fmla="*/ 20 h 135"/>
                <a:gd name="T6" fmla="*/ 133 w 138"/>
                <a:gd name="T7" fmla="*/ 40 h 135"/>
                <a:gd name="T8" fmla="*/ 138 w 138"/>
                <a:gd name="T9" fmla="*/ 66 h 135"/>
                <a:gd name="T10" fmla="*/ 133 w 138"/>
                <a:gd name="T11" fmla="*/ 92 h 135"/>
                <a:gd name="T12" fmla="*/ 118 w 138"/>
                <a:gd name="T13" fmla="*/ 115 h 135"/>
                <a:gd name="T14" fmla="*/ 95 w 138"/>
                <a:gd name="T15" fmla="*/ 130 h 135"/>
                <a:gd name="T16" fmla="*/ 69 w 138"/>
                <a:gd name="T17" fmla="*/ 135 h 135"/>
                <a:gd name="T18" fmla="*/ 43 w 138"/>
                <a:gd name="T19" fmla="*/ 130 h 135"/>
                <a:gd name="T20" fmla="*/ 20 w 138"/>
                <a:gd name="T21" fmla="*/ 115 h 135"/>
                <a:gd name="T22" fmla="*/ 6 w 138"/>
                <a:gd name="T23" fmla="*/ 95 h 135"/>
                <a:gd name="T24" fmla="*/ 0 w 138"/>
                <a:gd name="T25" fmla="*/ 69 h 135"/>
                <a:gd name="T26" fmla="*/ 6 w 138"/>
                <a:gd name="T27" fmla="*/ 40 h 135"/>
                <a:gd name="T28" fmla="*/ 20 w 138"/>
                <a:gd name="T29" fmla="*/ 20 h 135"/>
                <a:gd name="T30" fmla="*/ 43 w 138"/>
                <a:gd name="T31" fmla="*/ 6 h 135"/>
                <a:gd name="T32" fmla="*/ 69 w 138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5">
                  <a:moveTo>
                    <a:pt x="69" y="0"/>
                  </a:moveTo>
                  <a:lnTo>
                    <a:pt x="95" y="3"/>
                  </a:lnTo>
                  <a:lnTo>
                    <a:pt x="118" y="20"/>
                  </a:lnTo>
                  <a:lnTo>
                    <a:pt x="133" y="40"/>
                  </a:lnTo>
                  <a:lnTo>
                    <a:pt x="138" y="66"/>
                  </a:lnTo>
                  <a:lnTo>
                    <a:pt x="133" y="92"/>
                  </a:lnTo>
                  <a:lnTo>
                    <a:pt x="118" y="115"/>
                  </a:lnTo>
                  <a:lnTo>
                    <a:pt x="95" y="130"/>
                  </a:lnTo>
                  <a:lnTo>
                    <a:pt x="69" y="135"/>
                  </a:lnTo>
                  <a:lnTo>
                    <a:pt x="43" y="130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0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26" name="Freeform 134">
              <a:extLst>
                <a:ext uri="{FF2B5EF4-FFF2-40B4-BE49-F238E27FC236}">
                  <a16:creationId xmlns:a16="http://schemas.microsoft.com/office/drawing/2014/main" id="{D1168FE6-36A8-4641-A12D-E9AF2AD3633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866541" y="3865206"/>
              <a:ext cx="111208" cy="108808"/>
            </a:xfrm>
            <a:custGeom>
              <a:avLst/>
              <a:gdLst>
                <a:gd name="T0" fmla="*/ 67 w 139"/>
                <a:gd name="T1" fmla="*/ 0 h 136"/>
                <a:gd name="T2" fmla="*/ 96 w 139"/>
                <a:gd name="T3" fmla="*/ 6 h 136"/>
                <a:gd name="T4" fmla="*/ 119 w 139"/>
                <a:gd name="T5" fmla="*/ 21 h 136"/>
                <a:gd name="T6" fmla="*/ 133 w 139"/>
                <a:gd name="T7" fmla="*/ 44 h 136"/>
                <a:gd name="T8" fmla="*/ 139 w 139"/>
                <a:gd name="T9" fmla="*/ 70 h 136"/>
                <a:gd name="T10" fmla="*/ 133 w 139"/>
                <a:gd name="T11" fmla="*/ 95 h 136"/>
                <a:gd name="T12" fmla="*/ 119 w 139"/>
                <a:gd name="T13" fmla="*/ 119 h 136"/>
                <a:gd name="T14" fmla="*/ 96 w 139"/>
                <a:gd name="T15" fmla="*/ 133 h 136"/>
                <a:gd name="T16" fmla="*/ 70 w 139"/>
                <a:gd name="T17" fmla="*/ 136 h 136"/>
                <a:gd name="T18" fmla="*/ 44 w 139"/>
                <a:gd name="T19" fmla="*/ 133 h 136"/>
                <a:gd name="T20" fmla="*/ 21 w 139"/>
                <a:gd name="T21" fmla="*/ 119 h 136"/>
                <a:gd name="T22" fmla="*/ 6 w 139"/>
                <a:gd name="T23" fmla="*/ 95 h 136"/>
                <a:gd name="T24" fmla="*/ 0 w 139"/>
                <a:gd name="T25" fmla="*/ 70 h 136"/>
                <a:gd name="T26" fmla="*/ 6 w 139"/>
                <a:gd name="T27" fmla="*/ 44 h 136"/>
                <a:gd name="T28" fmla="*/ 21 w 139"/>
                <a:gd name="T29" fmla="*/ 21 h 136"/>
                <a:gd name="T30" fmla="*/ 44 w 139"/>
                <a:gd name="T31" fmla="*/ 6 h 136"/>
                <a:gd name="T32" fmla="*/ 67 w 139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6">
                  <a:moveTo>
                    <a:pt x="67" y="0"/>
                  </a:moveTo>
                  <a:lnTo>
                    <a:pt x="96" y="6"/>
                  </a:lnTo>
                  <a:lnTo>
                    <a:pt x="119" y="21"/>
                  </a:lnTo>
                  <a:lnTo>
                    <a:pt x="133" y="44"/>
                  </a:lnTo>
                  <a:lnTo>
                    <a:pt x="139" y="70"/>
                  </a:lnTo>
                  <a:lnTo>
                    <a:pt x="133" y="95"/>
                  </a:lnTo>
                  <a:lnTo>
                    <a:pt x="119" y="119"/>
                  </a:lnTo>
                  <a:lnTo>
                    <a:pt x="96" y="133"/>
                  </a:lnTo>
                  <a:lnTo>
                    <a:pt x="70" y="136"/>
                  </a:lnTo>
                  <a:lnTo>
                    <a:pt x="44" y="133"/>
                  </a:lnTo>
                  <a:lnTo>
                    <a:pt x="21" y="119"/>
                  </a:lnTo>
                  <a:lnTo>
                    <a:pt x="6" y="95"/>
                  </a:lnTo>
                  <a:lnTo>
                    <a:pt x="0" y="70"/>
                  </a:lnTo>
                  <a:lnTo>
                    <a:pt x="6" y="44"/>
                  </a:lnTo>
                  <a:lnTo>
                    <a:pt x="21" y="21"/>
                  </a:lnTo>
                  <a:lnTo>
                    <a:pt x="44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27" name="Freeform 135">
              <a:extLst>
                <a:ext uri="{FF2B5EF4-FFF2-40B4-BE49-F238E27FC236}">
                  <a16:creationId xmlns:a16="http://schemas.microsoft.com/office/drawing/2014/main" id="{BAED5B9B-34C3-4F47-A250-783232374AC0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801736" y="3650791"/>
              <a:ext cx="108808" cy="108808"/>
            </a:xfrm>
            <a:custGeom>
              <a:avLst/>
              <a:gdLst>
                <a:gd name="T0" fmla="*/ 66 w 136"/>
                <a:gd name="T1" fmla="*/ 0 h 136"/>
                <a:gd name="T2" fmla="*/ 92 w 136"/>
                <a:gd name="T3" fmla="*/ 6 h 136"/>
                <a:gd name="T4" fmla="*/ 115 w 136"/>
                <a:gd name="T5" fmla="*/ 21 h 136"/>
                <a:gd name="T6" fmla="*/ 130 w 136"/>
                <a:gd name="T7" fmla="*/ 44 h 136"/>
                <a:gd name="T8" fmla="*/ 136 w 136"/>
                <a:gd name="T9" fmla="*/ 67 h 136"/>
                <a:gd name="T10" fmla="*/ 130 w 136"/>
                <a:gd name="T11" fmla="*/ 96 h 136"/>
                <a:gd name="T12" fmla="*/ 115 w 136"/>
                <a:gd name="T13" fmla="*/ 116 h 136"/>
                <a:gd name="T14" fmla="*/ 92 w 136"/>
                <a:gd name="T15" fmla="*/ 130 h 136"/>
                <a:gd name="T16" fmla="*/ 69 w 136"/>
                <a:gd name="T17" fmla="*/ 136 h 136"/>
                <a:gd name="T18" fmla="*/ 40 w 136"/>
                <a:gd name="T19" fmla="*/ 133 h 136"/>
                <a:gd name="T20" fmla="*/ 17 w 136"/>
                <a:gd name="T21" fmla="*/ 116 h 136"/>
                <a:gd name="T22" fmla="*/ 3 w 136"/>
                <a:gd name="T23" fmla="*/ 96 h 136"/>
                <a:gd name="T24" fmla="*/ 0 w 136"/>
                <a:gd name="T25" fmla="*/ 70 h 136"/>
                <a:gd name="T26" fmla="*/ 3 w 136"/>
                <a:gd name="T27" fmla="*/ 44 h 136"/>
                <a:gd name="T28" fmla="*/ 20 w 136"/>
                <a:gd name="T29" fmla="*/ 21 h 136"/>
                <a:gd name="T30" fmla="*/ 40 w 136"/>
                <a:gd name="T31" fmla="*/ 6 h 136"/>
                <a:gd name="T32" fmla="*/ 66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6" y="0"/>
                  </a:moveTo>
                  <a:lnTo>
                    <a:pt x="92" y="6"/>
                  </a:lnTo>
                  <a:lnTo>
                    <a:pt x="115" y="21"/>
                  </a:lnTo>
                  <a:lnTo>
                    <a:pt x="130" y="44"/>
                  </a:lnTo>
                  <a:lnTo>
                    <a:pt x="136" y="67"/>
                  </a:lnTo>
                  <a:lnTo>
                    <a:pt x="130" y="96"/>
                  </a:lnTo>
                  <a:lnTo>
                    <a:pt x="115" y="116"/>
                  </a:lnTo>
                  <a:lnTo>
                    <a:pt x="92" y="130"/>
                  </a:lnTo>
                  <a:lnTo>
                    <a:pt x="69" y="136"/>
                  </a:lnTo>
                  <a:lnTo>
                    <a:pt x="40" y="133"/>
                  </a:lnTo>
                  <a:lnTo>
                    <a:pt x="17" y="116"/>
                  </a:lnTo>
                  <a:lnTo>
                    <a:pt x="3" y="96"/>
                  </a:lnTo>
                  <a:lnTo>
                    <a:pt x="0" y="70"/>
                  </a:lnTo>
                  <a:lnTo>
                    <a:pt x="3" y="44"/>
                  </a:lnTo>
                  <a:lnTo>
                    <a:pt x="20" y="21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28" name="Freeform 136">
              <a:extLst>
                <a:ext uri="{FF2B5EF4-FFF2-40B4-BE49-F238E27FC236}">
                  <a16:creationId xmlns:a16="http://schemas.microsoft.com/office/drawing/2014/main" id="{18374A76-C975-4224-AE02-1A14D633D3D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760933" y="3429174"/>
              <a:ext cx="108008" cy="108808"/>
            </a:xfrm>
            <a:custGeom>
              <a:avLst/>
              <a:gdLst>
                <a:gd name="T0" fmla="*/ 66 w 135"/>
                <a:gd name="T1" fmla="*/ 0 h 136"/>
                <a:gd name="T2" fmla="*/ 95 w 135"/>
                <a:gd name="T3" fmla="*/ 3 h 136"/>
                <a:gd name="T4" fmla="*/ 115 w 135"/>
                <a:gd name="T5" fmla="*/ 20 h 136"/>
                <a:gd name="T6" fmla="*/ 130 w 135"/>
                <a:gd name="T7" fmla="*/ 40 h 136"/>
                <a:gd name="T8" fmla="*/ 135 w 135"/>
                <a:gd name="T9" fmla="*/ 66 h 136"/>
                <a:gd name="T10" fmla="*/ 133 w 135"/>
                <a:gd name="T11" fmla="*/ 92 h 136"/>
                <a:gd name="T12" fmla="*/ 115 w 135"/>
                <a:gd name="T13" fmla="*/ 115 h 136"/>
                <a:gd name="T14" fmla="*/ 95 w 135"/>
                <a:gd name="T15" fmla="*/ 130 h 136"/>
                <a:gd name="T16" fmla="*/ 69 w 135"/>
                <a:gd name="T17" fmla="*/ 136 h 136"/>
                <a:gd name="T18" fmla="*/ 43 w 135"/>
                <a:gd name="T19" fmla="*/ 130 h 136"/>
                <a:gd name="T20" fmla="*/ 20 w 135"/>
                <a:gd name="T21" fmla="*/ 115 h 136"/>
                <a:gd name="T22" fmla="*/ 6 w 135"/>
                <a:gd name="T23" fmla="*/ 92 h 136"/>
                <a:gd name="T24" fmla="*/ 0 w 135"/>
                <a:gd name="T25" fmla="*/ 66 h 136"/>
                <a:gd name="T26" fmla="*/ 6 w 135"/>
                <a:gd name="T27" fmla="*/ 40 h 136"/>
                <a:gd name="T28" fmla="*/ 20 w 135"/>
                <a:gd name="T29" fmla="*/ 17 h 136"/>
                <a:gd name="T30" fmla="*/ 40 w 135"/>
                <a:gd name="T31" fmla="*/ 3 h 136"/>
                <a:gd name="T32" fmla="*/ 66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6" y="0"/>
                  </a:moveTo>
                  <a:lnTo>
                    <a:pt x="95" y="3"/>
                  </a:lnTo>
                  <a:lnTo>
                    <a:pt x="115" y="20"/>
                  </a:lnTo>
                  <a:lnTo>
                    <a:pt x="130" y="40"/>
                  </a:lnTo>
                  <a:lnTo>
                    <a:pt x="135" y="66"/>
                  </a:lnTo>
                  <a:lnTo>
                    <a:pt x="133" y="92"/>
                  </a:lnTo>
                  <a:lnTo>
                    <a:pt x="115" y="115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5"/>
                  </a:lnTo>
                  <a:lnTo>
                    <a:pt x="6" y="92"/>
                  </a:lnTo>
                  <a:lnTo>
                    <a:pt x="0" y="66"/>
                  </a:lnTo>
                  <a:lnTo>
                    <a:pt x="6" y="40"/>
                  </a:lnTo>
                  <a:lnTo>
                    <a:pt x="20" y="17"/>
                  </a:lnTo>
                  <a:lnTo>
                    <a:pt x="40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29" name="Freeform 137">
              <a:extLst>
                <a:ext uri="{FF2B5EF4-FFF2-40B4-BE49-F238E27FC236}">
                  <a16:creationId xmlns:a16="http://schemas.microsoft.com/office/drawing/2014/main" id="{56046B3B-8326-4FFF-9E60-A95A78AF049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740132" y="3208358"/>
              <a:ext cx="110408" cy="108008"/>
            </a:xfrm>
            <a:custGeom>
              <a:avLst/>
              <a:gdLst>
                <a:gd name="T0" fmla="*/ 69 w 138"/>
                <a:gd name="T1" fmla="*/ 0 h 135"/>
                <a:gd name="T2" fmla="*/ 95 w 138"/>
                <a:gd name="T3" fmla="*/ 6 h 135"/>
                <a:gd name="T4" fmla="*/ 118 w 138"/>
                <a:gd name="T5" fmla="*/ 20 h 135"/>
                <a:gd name="T6" fmla="*/ 133 w 138"/>
                <a:gd name="T7" fmla="*/ 43 h 135"/>
                <a:gd name="T8" fmla="*/ 138 w 138"/>
                <a:gd name="T9" fmla="*/ 66 h 135"/>
                <a:gd name="T10" fmla="*/ 133 w 138"/>
                <a:gd name="T11" fmla="*/ 95 h 135"/>
                <a:gd name="T12" fmla="*/ 118 w 138"/>
                <a:gd name="T13" fmla="*/ 118 h 135"/>
                <a:gd name="T14" fmla="*/ 95 w 138"/>
                <a:gd name="T15" fmla="*/ 132 h 135"/>
                <a:gd name="T16" fmla="*/ 69 w 138"/>
                <a:gd name="T17" fmla="*/ 135 h 135"/>
                <a:gd name="T18" fmla="*/ 43 w 138"/>
                <a:gd name="T19" fmla="*/ 132 h 135"/>
                <a:gd name="T20" fmla="*/ 20 w 138"/>
                <a:gd name="T21" fmla="*/ 118 h 135"/>
                <a:gd name="T22" fmla="*/ 6 w 138"/>
                <a:gd name="T23" fmla="*/ 95 h 135"/>
                <a:gd name="T24" fmla="*/ 0 w 138"/>
                <a:gd name="T25" fmla="*/ 69 h 135"/>
                <a:gd name="T26" fmla="*/ 6 w 138"/>
                <a:gd name="T27" fmla="*/ 43 h 135"/>
                <a:gd name="T28" fmla="*/ 20 w 138"/>
                <a:gd name="T29" fmla="*/ 20 h 135"/>
                <a:gd name="T30" fmla="*/ 43 w 138"/>
                <a:gd name="T31" fmla="*/ 6 h 135"/>
                <a:gd name="T32" fmla="*/ 69 w 138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5">
                  <a:moveTo>
                    <a:pt x="69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3" y="43"/>
                  </a:lnTo>
                  <a:lnTo>
                    <a:pt x="138" y="66"/>
                  </a:lnTo>
                  <a:lnTo>
                    <a:pt x="133" y="95"/>
                  </a:lnTo>
                  <a:lnTo>
                    <a:pt x="118" y="118"/>
                  </a:lnTo>
                  <a:lnTo>
                    <a:pt x="95" y="132"/>
                  </a:lnTo>
                  <a:lnTo>
                    <a:pt x="69" y="135"/>
                  </a:lnTo>
                  <a:lnTo>
                    <a:pt x="43" y="132"/>
                  </a:lnTo>
                  <a:lnTo>
                    <a:pt x="20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0" name="Freeform 138">
              <a:extLst>
                <a:ext uri="{FF2B5EF4-FFF2-40B4-BE49-F238E27FC236}">
                  <a16:creationId xmlns:a16="http://schemas.microsoft.com/office/drawing/2014/main" id="{DF3EFE8A-1BF9-43E5-A192-901DF5F0D42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744132" y="2981941"/>
              <a:ext cx="108808" cy="111208"/>
            </a:xfrm>
            <a:custGeom>
              <a:avLst/>
              <a:gdLst>
                <a:gd name="T0" fmla="*/ 66 w 136"/>
                <a:gd name="T1" fmla="*/ 0 h 139"/>
                <a:gd name="T2" fmla="*/ 92 w 136"/>
                <a:gd name="T3" fmla="*/ 6 h 139"/>
                <a:gd name="T4" fmla="*/ 115 w 136"/>
                <a:gd name="T5" fmla="*/ 21 h 139"/>
                <a:gd name="T6" fmla="*/ 130 w 136"/>
                <a:gd name="T7" fmla="*/ 44 h 139"/>
                <a:gd name="T8" fmla="*/ 136 w 136"/>
                <a:gd name="T9" fmla="*/ 70 h 139"/>
                <a:gd name="T10" fmla="*/ 130 w 136"/>
                <a:gd name="T11" fmla="*/ 95 h 139"/>
                <a:gd name="T12" fmla="*/ 115 w 136"/>
                <a:gd name="T13" fmla="*/ 119 h 139"/>
                <a:gd name="T14" fmla="*/ 92 w 136"/>
                <a:gd name="T15" fmla="*/ 133 h 139"/>
                <a:gd name="T16" fmla="*/ 69 w 136"/>
                <a:gd name="T17" fmla="*/ 139 h 139"/>
                <a:gd name="T18" fmla="*/ 41 w 136"/>
                <a:gd name="T19" fmla="*/ 133 h 139"/>
                <a:gd name="T20" fmla="*/ 20 w 136"/>
                <a:gd name="T21" fmla="*/ 119 h 139"/>
                <a:gd name="T22" fmla="*/ 6 w 136"/>
                <a:gd name="T23" fmla="*/ 95 h 139"/>
                <a:gd name="T24" fmla="*/ 0 w 136"/>
                <a:gd name="T25" fmla="*/ 70 h 139"/>
                <a:gd name="T26" fmla="*/ 3 w 136"/>
                <a:gd name="T27" fmla="*/ 44 h 139"/>
                <a:gd name="T28" fmla="*/ 20 w 136"/>
                <a:gd name="T29" fmla="*/ 21 h 139"/>
                <a:gd name="T30" fmla="*/ 41 w 136"/>
                <a:gd name="T31" fmla="*/ 6 h 139"/>
                <a:gd name="T32" fmla="*/ 66 w 136"/>
                <a:gd name="T33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9">
                  <a:moveTo>
                    <a:pt x="66" y="0"/>
                  </a:moveTo>
                  <a:lnTo>
                    <a:pt x="92" y="6"/>
                  </a:lnTo>
                  <a:lnTo>
                    <a:pt x="115" y="21"/>
                  </a:lnTo>
                  <a:lnTo>
                    <a:pt x="130" y="44"/>
                  </a:lnTo>
                  <a:lnTo>
                    <a:pt x="136" y="70"/>
                  </a:lnTo>
                  <a:lnTo>
                    <a:pt x="130" y="95"/>
                  </a:lnTo>
                  <a:lnTo>
                    <a:pt x="115" y="119"/>
                  </a:lnTo>
                  <a:lnTo>
                    <a:pt x="92" y="133"/>
                  </a:lnTo>
                  <a:lnTo>
                    <a:pt x="69" y="139"/>
                  </a:lnTo>
                  <a:lnTo>
                    <a:pt x="41" y="133"/>
                  </a:lnTo>
                  <a:lnTo>
                    <a:pt x="20" y="119"/>
                  </a:lnTo>
                  <a:lnTo>
                    <a:pt x="6" y="95"/>
                  </a:lnTo>
                  <a:lnTo>
                    <a:pt x="0" y="70"/>
                  </a:lnTo>
                  <a:lnTo>
                    <a:pt x="3" y="44"/>
                  </a:lnTo>
                  <a:lnTo>
                    <a:pt x="20" y="21"/>
                  </a:lnTo>
                  <a:lnTo>
                    <a:pt x="41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1" name="Freeform 139">
              <a:extLst>
                <a:ext uri="{FF2B5EF4-FFF2-40B4-BE49-F238E27FC236}">
                  <a16:creationId xmlns:a16="http://schemas.microsoft.com/office/drawing/2014/main" id="{1DE8612C-3EA2-4E46-A0C4-61C2CAC40C7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772134" y="2761125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2 w 135"/>
                <a:gd name="T3" fmla="*/ 6 h 135"/>
                <a:gd name="T4" fmla="*/ 115 w 135"/>
                <a:gd name="T5" fmla="*/ 20 h 135"/>
                <a:gd name="T6" fmla="*/ 129 w 135"/>
                <a:gd name="T7" fmla="*/ 40 h 135"/>
                <a:gd name="T8" fmla="*/ 135 w 135"/>
                <a:gd name="T9" fmla="*/ 66 h 135"/>
                <a:gd name="T10" fmla="*/ 129 w 135"/>
                <a:gd name="T11" fmla="*/ 92 h 135"/>
                <a:gd name="T12" fmla="*/ 115 w 135"/>
                <a:gd name="T13" fmla="*/ 115 h 135"/>
                <a:gd name="T14" fmla="*/ 95 w 135"/>
                <a:gd name="T15" fmla="*/ 130 h 135"/>
                <a:gd name="T16" fmla="*/ 69 w 135"/>
                <a:gd name="T17" fmla="*/ 135 h 135"/>
                <a:gd name="T18" fmla="*/ 40 w 135"/>
                <a:gd name="T19" fmla="*/ 132 h 135"/>
                <a:gd name="T20" fmla="*/ 20 w 135"/>
                <a:gd name="T21" fmla="*/ 115 h 135"/>
                <a:gd name="T22" fmla="*/ 5 w 135"/>
                <a:gd name="T23" fmla="*/ 95 h 135"/>
                <a:gd name="T24" fmla="*/ 0 w 135"/>
                <a:gd name="T25" fmla="*/ 69 h 135"/>
                <a:gd name="T26" fmla="*/ 5 w 135"/>
                <a:gd name="T27" fmla="*/ 43 h 135"/>
                <a:gd name="T28" fmla="*/ 20 w 135"/>
                <a:gd name="T29" fmla="*/ 20 h 135"/>
                <a:gd name="T30" fmla="*/ 40 w 135"/>
                <a:gd name="T31" fmla="*/ 6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2" y="6"/>
                  </a:lnTo>
                  <a:lnTo>
                    <a:pt x="115" y="20"/>
                  </a:lnTo>
                  <a:lnTo>
                    <a:pt x="129" y="40"/>
                  </a:lnTo>
                  <a:lnTo>
                    <a:pt x="135" y="66"/>
                  </a:lnTo>
                  <a:lnTo>
                    <a:pt x="129" y="92"/>
                  </a:lnTo>
                  <a:lnTo>
                    <a:pt x="115" y="115"/>
                  </a:lnTo>
                  <a:lnTo>
                    <a:pt x="95" y="130"/>
                  </a:lnTo>
                  <a:lnTo>
                    <a:pt x="69" y="135"/>
                  </a:lnTo>
                  <a:lnTo>
                    <a:pt x="40" y="132"/>
                  </a:lnTo>
                  <a:lnTo>
                    <a:pt x="20" y="115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3"/>
                  </a:lnTo>
                  <a:lnTo>
                    <a:pt x="20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2" name="Freeform 140">
              <a:extLst>
                <a:ext uri="{FF2B5EF4-FFF2-40B4-BE49-F238E27FC236}">
                  <a16:creationId xmlns:a16="http://schemas.microsoft.com/office/drawing/2014/main" id="{C395FA67-5754-498B-8FBD-D640371463B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380979" y="1365824"/>
              <a:ext cx="110408" cy="108008"/>
            </a:xfrm>
            <a:custGeom>
              <a:avLst/>
              <a:gdLst>
                <a:gd name="T0" fmla="*/ 69 w 138"/>
                <a:gd name="T1" fmla="*/ 0 h 135"/>
                <a:gd name="T2" fmla="*/ 95 w 138"/>
                <a:gd name="T3" fmla="*/ 5 h 135"/>
                <a:gd name="T4" fmla="*/ 118 w 138"/>
                <a:gd name="T5" fmla="*/ 20 h 135"/>
                <a:gd name="T6" fmla="*/ 132 w 138"/>
                <a:gd name="T7" fmla="*/ 43 h 135"/>
                <a:gd name="T8" fmla="*/ 138 w 138"/>
                <a:gd name="T9" fmla="*/ 66 h 135"/>
                <a:gd name="T10" fmla="*/ 132 w 138"/>
                <a:gd name="T11" fmla="*/ 92 h 135"/>
                <a:gd name="T12" fmla="*/ 118 w 138"/>
                <a:gd name="T13" fmla="*/ 115 h 135"/>
                <a:gd name="T14" fmla="*/ 95 w 138"/>
                <a:gd name="T15" fmla="*/ 129 h 135"/>
                <a:gd name="T16" fmla="*/ 69 w 138"/>
                <a:gd name="T17" fmla="*/ 135 h 135"/>
                <a:gd name="T18" fmla="*/ 43 w 138"/>
                <a:gd name="T19" fmla="*/ 132 h 135"/>
                <a:gd name="T20" fmla="*/ 23 w 138"/>
                <a:gd name="T21" fmla="*/ 115 h 135"/>
                <a:gd name="T22" fmla="*/ 5 w 138"/>
                <a:gd name="T23" fmla="*/ 95 h 135"/>
                <a:gd name="T24" fmla="*/ 0 w 138"/>
                <a:gd name="T25" fmla="*/ 69 h 135"/>
                <a:gd name="T26" fmla="*/ 5 w 138"/>
                <a:gd name="T27" fmla="*/ 43 h 135"/>
                <a:gd name="T28" fmla="*/ 20 w 138"/>
                <a:gd name="T29" fmla="*/ 20 h 135"/>
                <a:gd name="T30" fmla="*/ 43 w 138"/>
                <a:gd name="T31" fmla="*/ 5 h 135"/>
                <a:gd name="T32" fmla="*/ 69 w 138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5">
                  <a:moveTo>
                    <a:pt x="69" y="0"/>
                  </a:moveTo>
                  <a:lnTo>
                    <a:pt x="95" y="5"/>
                  </a:lnTo>
                  <a:lnTo>
                    <a:pt x="118" y="20"/>
                  </a:lnTo>
                  <a:lnTo>
                    <a:pt x="132" y="43"/>
                  </a:lnTo>
                  <a:lnTo>
                    <a:pt x="138" y="66"/>
                  </a:lnTo>
                  <a:lnTo>
                    <a:pt x="132" y="92"/>
                  </a:lnTo>
                  <a:lnTo>
                    <a:pt x="118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3" y="132"/>
                  </a:lnTo>
                  <a:lnTo>
                    <a:pt x="23" y="115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3"/>
                  </a:lnTo>
                  <a:lnTo>
                    <a:pt x="20" y="20"/>
                  </a:lnTo>
                  <a:lnTo>
                    <a:pt x="43" y="5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3" name="Freeform 141">
              <a:extLst>
                <a:ext uri="{FF2B5EF4-FFF2-40B4-BE49-F238E27FC236}">
                  <a16:creationId xmlns:a16="http://schemas.microsoft.com/office/drawing/2014/main" id="{66B57B4B-016B-4B5D-934D-52ACAD067AC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558592" y="1229814"/>
              <a:ext cx="110408" cy="108008"/>
            </a:xfrm>
            <a:custGeom>
              <a:avLst/>
              <a:gdLst>
                <a:gd name="T0" fmla="*/ 69 w 138"/>
                <a:gd name="T1" fmla="*/ 0 h 135"/>
                <a:gd name="T2" fmla="*/ 95 w 138"/>
                <a:gd name="T3" fmla="*/ 5 h 135"/>
                <a:gd name="T4" fmla="*/ 118 w 138"/>
                <a:gd name="T5" fmla="*/ 20 h 135"/>
                <a:gd name="T6" fmla="*/ 132 w 138"/>
                <a:gd name="T7" fmla="*/ 40 h 135"/>
                <a:gd name="T8" fmla="*/ 138 w 138"/>
                <a:gd name="T9" fmla="*/ 66 h 135"/>
                <a:gd name="T10" fmla="*/ 132 w 138"/>
                <a:gd name="T11" fmla="*/ 92 h 135"/>
                <a:gd name="T12" fmla="*/ 118 w 138"/>
                <a:gd name="T13" fmla="*/ 115 h 135"/>
                <a:gd name="T14" fmla="*/ 95 w 138"/>
                <a:gd name="T15" fmla="*/ 129 h 135"/>
                <a:gd name="T16" fmla="*/ 69 w 138"/>
                <a:gd name="T17" fmla="*/ 135 h 135"/>
                <a:gd name="T18" fmla="*/ 43 w 138"/>
                <a:gd name="T19" fmla="*/ 129 h 135"/>
                <a:gd name="T20" fmla="*/ 20 w 138"/>
                <a:gd name="T21" fmla="*/ 115 h 135"/>
                <a:gd name="T22" fmla="*/ 5 w 138"/>
                <a:gd name="T23" fmla="*/ 95 h 135"/>
                <a:gd name="T24" fmla="*/ 0 w 138"/>
                <a:gd name="T25" fmla="*/ 69 h 135"/>
                <a:gd name="T26" fmla="*/ 5 w 138"/>
                <a:gd name="T27" fmla="*/ 43 h 135"/>
                <a:gd name="T28" fmla="*/ 20 w 138"/>
                <a:gd name="T29" fmla="*/ 20 h 135"/>
                <a:gd name="T30" fmla="*/ 43 w 138"/>
                <a:gd name="T31" fmla="*/ 5 h 135"/>
                <a:gd name="T32" fmla="*/ 69 w 138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5">
                  <a:moveTo>
                    <a:pt x="69" y="0"/>
                  </a:moveTo>
                  <a:lnTo>
                    <a:pt x="95" y="5"/>
                  </a:lnTo>
                  <a:lnTo>
                    <a:pt x="118" y="20"/>
                  </a:lnTo>
                  <a:lnTo>
                    <a:pt x="132" y="40"/>
                  </a:lnTo>
                  <a:lnTo>
                    <a:pt x="138" y="66"/>
                  </a:lnTo>
                  <a:lnTo>
                    <a:pt x="132" y="92"/>
                  </a:lnTo>
                  <a:lnTo>
                    <a:pt x="118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3" y="129"/>
                  </a:lnTo>
                  <a:lnTo>
                    <a:pt x="20" y="115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3"/>
                  </a:lnTo>
                  <a:lnTo>
                    <a:pt x="20" y="20"/>
                  </a:lnTo>
                  <a:lnTo>
                    <a:pt x="43" y="5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4" name="Freeform 142">
              <a:extLst>
                <a:ext uri="{FF2B5EF4-FFF2-40B4-BE49-F238E27FC236}">
                  <a16:creationId xmlns:a16="http://schemas.microsoft.com/office/drawing/2014/main" id="{A230E71F-F1BB-405D-BC66-B6619BAB573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749806" y="1109805"/>
              <a:ext cx="108808" cy="108008"/>
            </a:xfrm>
            <a:custGeom>
              <a:avLst/>
              <a:gdLst>
                <a:gd name="T0" fmla="*/ 67 w 136"/>
                <a:gd name="T1" fmla="*/ 0 h 135"/>
                <a:gd name="T2" fmla="*/ 92 w 136"/>
                <a:gd name="T3" fmla="*/ 2 h 135"/>
                <a:gd name="T4" fmla="*/ 116 w 136"/>
                <a:gd name="T5" fmla="*/ 17 h 135"/>
                <a:gd name="T6" fmla="*/ 130 w 136"/>
                <a:gd name="T7" fmla="*/ 40 h 135"/>
                <a:gd name="T8" fmla="*/ 136 w 136"/>
                <a:gd name="T9" fmla="*/ 66 h 135"/>
                <a:gd name="T10" fmla="*/ 130 w 136"/>
                <a:gd name="T11" fmla="*/ 92 h 135"/>
                <a:gd name="T12" fmla="*/ 116 w 136"/>
                <a:gd name="T13" fmla="*/ 115 h 135"/>
                <a:gd name="T14" fmla="*/ 95 w 136"/>
                <a:gd name="T15" fmla="*/ 129 h 135"/>
                <a:gd name="T16" fmla="*/ 69 w 136"/>
                <a:gd name="T17" fmla="*/ 135 h 135"/>
                <a:gd name="T18" fmla="*/ 43 w 136"/>
                <a:gd name="T19" fmla="*/ 129 h 135"/>
                <a:gd name="T20" fmla="*/ 20 w 136"/>
                <a:gd name="T21" fmla="*/ 115 h 135"/>
                <a:gd name="T22" fmla="*/ 6 w 136"/>
                <a:gd name="T23" fmla="*/ 92 h 135"/>
                <a:gd name="T24" fmla="*/ 0 w 136"/>
                <a:gd name="T25" fmla="*/ 66 h 135"/>
                <a:gd name="T26" fmla="*/ 6 w 136"/>
                <a:gd name="T27" fmla="*/ 40 h 135"/>
                <a:gd name="T28" fmla="*/ 20 w 136"/>
                <a:gd name="T29" fmla="*/ 20 h 135"/>
                <a:gd name="T30" fmla="*/ 41 w 136"/>
                <a:gd name="T31" fmla="*/ 2 h 135"/>
                <a:gd name="T32" fmla="*/ 67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7" y="0"/>
                  </a:moveTo>
                  <a:lnTo>
                    <a:pt x="92" y="2"/>
                  </a:lnTo>
                  <a:lnTo>
                    <a:pt x="116" y="17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0" y="92"/>
                  </a:lnTo>
                  <a:lnTo>
                    <a:pt x="116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3" y="129"/>
                  </a:lnTo>
                  <a:lnTo>
                    <a:pt x="20" y="115"/>
                  </a:lnTo>
                  <a:lnTo>
                    <a:pt x="6" y="92"/>
                  </a:lnTo>
                  <a:lnTo>
                    <a:pt x="0" y="66"/>
                  </a:lnTo>
                  <a:lnTo>
                    <a:pt x="6" y="40"/>
                  </a:lnTo>
                  <a:lnTo>
                    <a:pt x="20" y="20"/>
                  </a:lnTo>
                  <a:lnTo>
                    <a:pt x="41" y="2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5" name="Freeform 143">
              <a:extLst>
                <a:ext uri="{FF2B5EF4-FFF2-40B4-BE49-F238E27FC236}">
                  <a16:creationId xmlns:a16="http://schemas.microsoft.com/office/drawing/2014/main" id="{3E3698FF-5E27-4CD2-82F7-E3ED2E11C8C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950620" y="1010598"/>
              <a:ext cx="108808" cy="108808"/>
            </a:xfrm>
            <a:custGeom>
              <a:avLst/>
              <a:gdLst>
                <a:gd name="T0" fmla="*/ 67 w 136"/>
                <a:gd name="T1" fmla="*/ 0 h 136"/>
                <a:gd name="T2" fmla="*/ 93 w 136"/>
                <a:gd name="T3" fmla="*/ 6 h 136"/>
                <a:gd name="T4" fmla="*/ 116 w 136"/>
                <a:gd name="T5" fmla="*/ 21 h 136"/>
                <a:gd name="T6" fmla="*/ 130 w 136"/>
                <a:gd name="T7" fmla="*/ 41 h 136"/>
                <a:gd name="T8" fmla="*/ 136 w 136"/>
                <a:gd name="T9" fmla="*/ 67 h 136"/>
                <a:gd name="T10" fmla="*/ 130 w 136"/>
                <a:gd name="T11" fmla="*/ 93 h 136"/>
                <a:gd name="T12" fmla="*/ 116 w 136"/>
                <a:gd name="T13" fmla="*/ 116 h 136"/>
                <a:gd name="T14" fmla="*/ 96 w 136"/>
                <a:gd name="T15" fmla="*/ 130 h 136"/>
                <a:gd name="T16" fmla="*/ 70 w 136"/>
                <a:gd name="T17" fmla="*/ 136 h 136"/>
                <a:gd name="T18" fmla="*/ 44 w 136"/>
                <a:gd name="T19" fmla="*/ 130 h 136"/>
                <a:gd name="T20" fmla="*/ 21 w 136"/>
                <a:gd name="T21" fmla="*/ 116 h 136"/>
                <a:gd name="T22" fmla="*/ 6 w 136"/>
                <a:gd name="T23" fmla="*/ 96 h 136"/>
                <a:gd name="T24" fmla="*/ 0 w 136"/>
                <a:gd name="T25" fmla="*/ 70 h 136"/>
                <a:gd name="T26" fmla="*/ 6 w 136"/>
                <a:gd name="T27" fmla="*/ 41 h 136"/>
                <a:gd name="T28" fmla="*/ 21 w 136"/>
                <a:gd name="T29" fmla="*/ 21 h 136"/>
                <a:gd name="T30" fmla="*/ 41 w 136"/>
                <a:gd name="T31" fmla="*/ 6 h 136"/>
                <a:gd name="T32" fmla="*/ 67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7" y="0"/>
                  </a:moveTo>
                  <a:lnTo>
                    <a:pt x="93" y="6"/>
                  </a:lnTo>
                  <a:lnTo>
                    <a:pt x="116" y="21"/>
                  </a:lnTo>
                  <a:lnTo>
                    <a:pt x="130" y="41"/>
                  </a:lnTo>
                  <a:lnTo>
                    <a:pt x="136" y="67"/>
                  </a:lnTo>
                  <a:lnTo>
                    <a:pt x="130" y="93"/>
                  </a:lnTo>
                  <a:lnTo>
                    <a:pt x="116" y="116"/>
                  </a:lnTo>
                  <a:lnTo>
                    <a:pt x="96" y="130"/>
                  </a:lnTo>
                  <a:lnTo>
                    <a:pt x="70" y="136"/>
                  </a:lnTo>
                  <a:lnTo>
                    <a:pt x="44" y="130"/>
                  </a:lnTo>
                  <a:lnTo>
                    <a:pt x="21" y="116"/>
                  </a:lnTo>
                  <a:lnTo>
                    <a:pt x="6" y="96"/>
                  </a:lnTo>
                  <a:lnTo>
                    <a:pt x="0" y="70"/>
                  </a:lnTo>
                  <a:lnTo>
                    <a:pt x="6" y="41"/>
                  </a:lnTo>
                  <a:lnTo>
                    <a:pt x="21" y="21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6" name="Freeform 144">
              <a:extLst>
                <a:ext uri="{FF2B5EF4-FFF2-40B4-BE49-F238E27FC236}">
                  <a16:creationId xmlns:a16="http://schemas.microsoft.com/office/drawing/2014/main" id="{F7F0BF6B-AD89-47B5-9CA6-E8AA33F7E27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160235" y="932192"/>
              <a:ext cx="108808" cy="108808"/>
            </a:xfrm>
            <a:custGeom>
              <a:avLst/>
              <a:gdLst>
                <a:gd name="T0" fmla="*/ 66 w 136"/>
                <a:gd name="T1" fmla="*/ 0 h 136"/>
                <a:gd name="T2" fmla="*/ 95 w 136"/>
                <a:gd name="T3" fmla="*/ 6 h 136"/>
                <a:gd name="T4" fmla="*/ 115 w 136"/>
                <a:gd name="T5" fmla="*/ 21 h 136"/>
                <a:gd name="T6" fmla="*/ 130 w 136"/>
                <a:gd name="T7" fmla="*/ 44 h 136"/>
                <a:gd name="T8" fmla="*/ 136 w 136"/>
                <a:gd name="T9" fmla="*/ 70 h 136"/>
                <a:gd name="T10" fmla="*/ 133 w 136"/>
                <a:gd name="T11" fmla="*/ 96 h 136"/>
                <a:gd name="T12" fmla="*/ 115 w 136"/>
                <a:gd name="T13" fmla="*/ 119 h 136"/>
                <a:gd name="T14" fmla="*/ 95 w 136"/>
                <a:gd name="T15" fmla="*/ 133 h 136"/>
                <a:gd name="T16" fmla="*/ 69 w 136"/>
                <a:gd name="T17" fmla="*/ 136 h 136"/>
                <a:gd name="T18" fmla="*/ 43 w 136"/>
                <a:gd name="T19" fmla="*/ 133 h 136"/>
                <a:gd name="T20" fmla="*/ 20 w 136"/>
                <a:gd name="T21" fmla="*/ 119 h 136"/>
                <a:gd name="T22" fmla="*/ 6 w 136"/>
                <a:gd name="T23" fmla="*/ 96 h 136"/>
                <a:gd name="T24" fmla="*/ 0 w 136"/>
                <a:gd name="T25" fmla="*/ 70 h 136"/>
                <a:gd name="T26" fmla="*/ 6 w 136"/>
                <a:gd name="T27" fmla="*/ 44 h 136"/>
                <a:gd name="T28" fmla="*/ 20 w 136"/>
                <a:gd name="T29" fmla="*/ 21 h 136"/>
                <a:gd name="T30" fmla="*/ 43 w 136"/>
                <a:gd name="T31" fmla="*/ 6 h 136"/>
                <a:gd name="T32" fmla="*/ 66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6" y="0"/>
                  </a:moveTo>
                  <a:lnTo>
                    <a:pt x="95" y="6"/>
                  </a:lnTo>
                  <a:lnTo>
                    <a:pt x="115" y="21"/>
                  </a:lnTo>
                  <a:lnTo>
                    <a:pt x="130" y="44"/>
                  </a:lnTo>
                  <a:lnTo>
                    <a:pt x="136" y="70"/>
                  </a:lnTo>
                  <a:lnTo>
                    <a:pt x="133" y="96"/>
                  </a:lnTo>
                  <a:lnTo>
                    <a:pt x="115" y="119"/>
                  </a:lnTo>
                  <a:lnTo>
                    <a:pt x="95" y="133"/>
                  </a:lnTo>
                  <a:lnTo>
                    <a:pt x="69" y="136"/>
                  </a:lnTo>
                  <a:lnTo>
                    <a:pt x="43" y="133"/>
                  </a:lnTo>
                  <a:lnTo>
                    <a:pt x="20" y="119"/>
                  </a:lnTo>
                  <a:lnTo>
                    <a:pt x="6" y="96"/>
                  </a:lnTo>
                  <a:lnTo>
                    <a:pt x="0" y="70"/>
                  </a:lnTo>
                  <a:lnTo>
                    <a:pt x="6" y="44"/>
                  </a:lnTo>
                  <a:lnTo>
                    <a:pt x="20" y="21"/>
                  </a:lnTo>
                  <a:lnTo>
                    <a:pt x="43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7" name="Freeform 145">
              <a:extLst>
                <a:ext uri="{FF2B5EF4-FFF2-40B4-BE49-F238E27FC236}">
                  <a16:creationId xmlns:a16="http://schemas.microsoft.com/office/drawing/2014/main" id="{D9961ABD-AA5C-4E1B-9F4D-A6233F5806B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375451" y="872188"/>
              <a:ext cx="110408" cy="108808"/>
            </a:xfrm>
            <a:custGeom>
              <a:avLst/>
              <a:gdLst>
                <a:gd name="T0" fmla="*/ 69 w 138"/>
                <a:gd name="T1" fmla="*/ 0 h 136"/>
                <a:gd name="T2" fmla="*/ 95 w 138"/>
                <a:gd name="T3" fmla="*/ 6 h 136"/>
                <a:gd name="T4" fmla="*/ 118 w 138"/>
                <a:gd name="T5" fmla="*/ 21 h 136"/>
                <a:gd name="T6" fmla="*/ 133 w 138"/>
                <a:gd name="T7" fmla="*/ 41 h 136"/>
                <a:gd name="T8" fmla="*/ 138 w 138"/>
                <a:gd name="T9" fmla="*/ 67 h 136"/>
                <a:gd name="T10" fmla="*/ 133 w 138"/>
                <a:gd name="T11" fmla="*/ 93 h 136"/>
                <a:gd name="T12" fmla="*/ 118 w 138"/>
                <a:gd name="T13" fmla="*/ 116 h 136"/>
                <a:gd name="T14" fmla="*/ 95 w 138"/>
                <a:gd name="T15" fmla="*/ 130 h 136"/>
                <a:gd name="T16" fmla="*/ 69 w 138"/>
                <a:gd name="T17" fmla="*/ 136 h 136"/>
                <a:gd name="T18" fmla="*/ 43 w 138"/>
                <a:gd name="T19" fmla="*/ 130 h 136"/>
                <a:gd name="T20" fmla="*/ 20 w 138"/>
                <a:gd name="T21" fmla="*/ 116 h 136"/>
                <a:gd name="T22" fmla="*/ 6 w 138"/>
                <a:gd name="T23" fmla="*/ 95 h 136"/>
                <a:gd name="T24" fmla="*/ 0 w 138"/>
                <a:gd name="T25" fmla="*/ 70 h 136"/>
                <a:gd name="T26" fmla="*/ 6 w 138"/>
                <a:gd name="T27" fmla="*/ 44 h 136"/>
                <a:gd name="T28" fmla="*/ 20 w 138"/>
                <a:gd name="T29" fmla="*/ 21 h 136"/>
                <a:gd name="T30" fmla="*/ 43 w 138"/>
                <a:gd name="T31" fmla="*/ 6 h 136"/>
                <a:gd name="T32" fmla="*/ 69 w 138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6">
                  <a:moveTo>
                    <a:pt x="69" y="0"/>
                  </a:moveTo>
                  <a:lnTo>
                    <a:pt x="95" y="6"/>
                  </a:lnTo>
                  <a:lnTo>
                    <a:pt x="118" y="21"/>
                  </a:lnTo>
                  <a:lnTo>
                    <a:pt x="133" y="41"/>
                  </a:lnTo>
                  <a:lnTo>
                    <a:pt x="138" y="67"/>
                  </a:lnTo>
                  <a:lnTo>
                    <a:pt x="133" y="93"/>
                  </a:lnTo>
                  <a:lnTo>
                    <a:pt x="118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6"/>
                  </a:lnTo>
                  <a:lnTo>
                    <a:pt x="6" y="95"/>
                  </a:lnTo>
                  <a:lnTo>
                    <a:pt x="0" y="70"/>
                  </a:lnTo>
                  <a:lnTo>
                    <a:pt x="6" y="44"/>
                  </a:lnTo>
                  <a:lnTo>
                    <a:pt x="20" y="21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8" name="Freeform 146">
              <a:extLst>
                <a:ext uri="{FF2B5EF4-FFF2-40B4-BE49-F238E27FC236}">
                  <a16:creationId xmlns:a16="http://schemas.microsoft.com/office/drawing/2014/main" id="{34E4FD04-84E9-457C-BF35-F3882F6AE7D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596267" y="832985"/>
              <a:ext cx="108808" cy="108808"/>
            </a:xfrm>
            <a:custGeom>
              <a:avLst/>
              <a:gdLst>
                <a:gd name="T0" fmla="*/ 67 w 136"/>
                <a:gd name="T1" fmla="*/ 0 h 136"/>
                <a:gd name="T2" fmla="*/ 92 w 136"/>
                <a:gd name="T3" fmla="*/ 3 h 136"/>
                <a:gd name="T4" fmla="*/ 116 w 136"/>
                <a:gd name="T5" fmla="*/ 21 h 136"/>
                <a:gd name="T6" fmla="*/ 130 w 136"/>
                <a:gd name="T7" fmla="*/ 41 h 136"/>
                <a:gd name="T8" fmla="*/ 136 w 136"/>
                <a:gd name="T9" fmla="*/ 67 h 136"/>
                <a:gd name="T10" fmla="*/ 130 w 136"/>
                <a:gd name="T11" fmla="*/ 93 h 136"/>
                <a:gd name="T12" fmla="*/ 116 w 136"/>
                <a:gd name="T13" fmla="*/ 116 h 136"/>
                <a:gd name="T14" fmla="*/ 92 w 136"/>
                <a:gd name="T15" fmla="*/ 130 h 136"/>
                <a:gd name="T16" fmla="*/ 69 w 136"/>
                <a:gd name="T17" fmla="*/ 136 h 136"/>
                <a:gd name="T18" fmla="*/ 43 w 136"/>
                <a:gd name="T19" fmla="*/ 130 h 136"/>
                <a:gd name="T20" fmla="*/ 20 w 136"/>
                <a:gd name="T21" fmla="*/ 116 h 136"/>
                <a:gd name="T22" fmla="*/ 6 w 136"/>
                <a:gd name="T23" fmla="*/ 93 h 136"/>
                <a:gd name="T24" fmla="*/ 0 w 136"/>
                <a:gd name="T25" fmla="*/ 70 h 136"/>
                <a:gd name="T26" fmla="*/ 3 w 136"/>
                <a:gd name="T27" fmla="*/ 41 h 136"/>
                <a:gd name="T28" fmla="*/ 20 w 136"/>
                <a:gd name="T29" fmla="*/ 18 h 136"/>
                <a:gd name="T30" fmla="*/ 41 w 136"/>
                <a:gd name="T31" fmla="*/ 3 h 136"/>
                <a:gd name="T32" fmla="*/ 67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7" y="0"/>
                  </a:moveTo>
                  <a:lnTo>
                    <a:pt x="92" y="3"/>
                  </a:lnTo>
                  <a:lnTo>
                    <a:pt x="116" y="21"/>
                  </a:lnTo>
                  <a:lnTo>
                    <a:pt x="130" y="41"/>
                  </a:lnTo>
                  <a:lnTo>
                    <a:pt x="136" y="67"/>
                  </a:lnTo>
                  <a:lnTo>
                    <a:pt x="130" y="93"/>
                  </a:lnTo>
                  <a:lnTo>
                    <a:pt x="116" y="116"/>
                  </a:lnTo>
                  <a:lnTo>
                    <a:pt x="92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6"/>
                  </a:lnTo>
                  <a:lnTo>
                    <a:pt x="6" y="93"/>
                  </a:lnTo>
                  <a:lnTo>
                    <a:pt x="0" y="70"/>
                  </a:lnTo>
                  <a:lnTo>
                    <a:pt x="3" y="41"/>
                  </a:lnTo>
                  <a:lnTo>
                    <a:pt x="20" y="18"/>
                  </a:lnTo>
                  <a:lnTo>
                    <a:pt x="41" y="3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9" name="Freeform 147">
              <a:extLst>
                <a:ext uri="{FF2B5EF4-FFF2-40B4-BE49-F238E27FC236}">
                  <a16:creationId xmlns:a16="http://schemas.microsoft.com/office/drawing/2014/main" id="{09C91511-F456-4697-A567-B4F69EC7E25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820283" y="816984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2 w 135"/>
                <a:gd name="T3" fmla="*/ 5 h 135"/>
                <a:gd name="T4" fmla="*/ 115 w 135"/>
                <a:gd name="T5" fmla="*/ 20 h 135"/>
                <a:gd name="T6" fmla="*/ 129 w 135"/>
                <a:gd name="T7" fmla="*/ 40 h 135"/>
                <a:gd name="T8" fmla="*/ 135 w 135"/>
                <a:gd name="T9" fmla="*/ 66 h 135"/>
                <a:gd name="T10" fmla="*/ 129 w 135"/>
                <a:gd name="T11" fmla="*/ 92 h 135"/>
                <a:gd name="T12" fmla="*/ 115 w 135"/>
                <a:gd name="T13" fmla="*/ 115 h 135"/>
                <a:gd name="T14" fmla="*/ 95 w 135"/>
                <a:gd name="T15" fmla="*/ 129 h 135"/>
                <a:gd name="T16" fmla="*/ 69 w 135"/>
                <a:gd name="T17" fmla="*/ 135 h 135"/>
                <a:gd name="T18" fmla="*/ 43 w 135"/>
                <a:gd name="T19" fmla="*/ 129 h 135"/>
                <a:gd name="T20" fmla="*/ 20 w 135"/>
                <a:gd name="T21" fmla="*/ 115 h 135"/>
                <a:gd name="T22" fmla="*/ 5 w 135"/>
                <a:gd name="T23" fmla="*/ 95 h 135"/>
                <a:gd name="T24" fmla="*/ 0 w 135"/>
                <a:gd name="T25" fmla="*/ 69 h 135"/>
                <a:gd name="T26" fmla="*/ 5 w 135"/>
                <a:gd name="T27" fmla="*/ 43 h 135"/>
                <a:gd name="T28" fmla="*/ 20 w 135"/>
                <a:gd name="T29" fmla="*/ 20 h 135"/>
                <a:gd name="T30" fmla="*/ 40 w 135"/>
                <a:gd name="T31" fmla="*/ 5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2" y="5"/>
                  </a:lnTo>
                  <a:lnTo>
                    <a:pt x="115" y="20"/>
                  </a:lnTo>
                  <a:lnTo>
                    <a:pt x="129" y="40"/>
                  </a:lnTo>
                  <a:lnTo>
                    <a:pt x="135" y="66"/>
                  </a:lnTo>
                  <a:lnTo>
                    <a:pt x="129" y="92"/>
                  </a:lnTo>
                  <a:lnTo>
                    <a:pt x="115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3" y="129"/>
                  </a:lnTo>
                  <a:lnTo>
                    <a:pt x="20" y="115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3"/>
                  </a:lnTo>
                  <a:lnTo>
                    <a:pt x="20" y="20"/>
                  </a:lnTo>
                  <a:lnTo>
                    <a:pt x="40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0" name="Freeform 148">
              <a:extLst>
                <a:ext uri="{FF2B5EF4-FFF2-40B4-BE49-F238E27FC236}">
                  <a16:creationId xmlns:a16="http://schemas.microsoft.com/office/drawing/2014/main" id="{307F4EED-25FD-4C41-A225-B47D7198D94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2044300" y="821784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2 w 135"/>
                <a:gd name="T3" fmla="*/ 3 h 135"/>
                <a:gd name="T4" fmla="*/ 115 w 135"/>
                <a:gd name="T5" fmla="*/ 17 h 135"/>
                <a:gd name="T6" fmla="*/ 130 w 135"/>
                <a:gd name="T7" fmla="*/ 40 h 135"/>
                <a:gd name="T8" fmla="*/ 135 w 135"/>
                <a:gd name="T9" fmla="*/ 66 h 135"/>
                <a:gd name="T10" fmla="*/ 130 w 135"/>
                <a:gd name="T11" fmla="*/ 92 h 135"/>
                <a:gd name="T12" fmla="*/ 115 w 135"/>
                <a:gd name="T13" fmla="*/ 115 h 135"/>
                <a:gd name="T14" fmla="*/ 95 w 135"/>
                <a:gd name="T15" fmla="*/ 129 h 135"/>
                <a:gd name="T16" fmla="*/ 69 w 135"/>
                <a:gd name="T17" fmla="*/ 135 h 135"/>
                <a:gd name="T18" fmla="*/ 40 w 135"/>
                <a:gd name="T19" fmla="*/ 129 h 135"/>
                <a:gd name="T20" fmla="*/ 20 w 135"/>
                <a:gd name="T21" fmla="*/ 115 h 135"/>
                <a:gd name="T22" fmla="*/ 6 w 135"/>
                <a:gd name="T23" fmla="*/ 92 h 135"/>
                <a:gd name="T24" fmla="*/ 0 w 135"/>
                <a:gd name="T25" fmla="*/ 69 h 135"/>
                <a:gd name="T26" fmla="*/ 3 w 135"/>
                <a:gd name="T27" fmla="*/ 40 h 135"/>
                <a:gd name="T28" fmla="*/ 20 w 135"/>
                <a:gd name="T29" fmla="*/ 20 h 135"/>
                <a:gd name="T30" fmla="*/ 40 w 135"/>
                <a:gd name="T31" fmla="*/ 6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2" y="3"/>
                  </a:lnTo>
                  <a:lnTo>
                    <a:pt x="115" y="17"/>
                  </a:lnTo>
                  <a:lnTo>
                    <a:pt x="130" y="40"/>
                  </a:lnTo>
                  <a:lnTo>
                    <a:pt x="135" y="66"/>
                  </a:lnTo>
                  <a:lnTo>
                    <a:pt x="130" y="92"/>
                  </a:lnTo>
                  <a:lnTo>
                    <a:pt x="115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0" y="129"/>
                  </a:lnTo>
                  <a:lnTo>
                    <a:pt x="20" y="115"/>
                  </a:lnTo>
                  <a:lnTo>
                    <a:pt x="6" y="92"/>
                  </a:lnTo>
                  <a:lnTo>
                    <a:pt x="0" y="69"/>
                  </a:lnTo>
                  <a:lnTo>
                    <a:pt x="3" y="40"/>
                  </a:lnTo>
                  <a:lnTo>
                    <a:pt x="20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1" name="Freeform 149">
              <a:extLst>
                <a:ext uri="{FF2B5EF4-FFF2-40B4-BE49-F238E27FC236}">
                  <a16:creationId xmlns:a16="http://schemas.microsoft.com/office/drawing/2014/main" id="{1C01E0D9-7B7A-45E0-9FA0-9C97EA5BBF6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224167" y="4758071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5 w 135"/>
                <a:gd name="T3" fmla="*/ 6 h 135"/>
                <a:gd name="T4" fmla="*/ 115 w 135"/>
                <a:gd name="T5" fmla="*/ 20 h 135"/>
                <a:gd name="T6" fmla="*/ 129 w 135"/>
                <a:gd name="T7" fmla="*/ 43 h 135"/>
                <a:gd name="T8" fmla="*/ 135 w 135"/>
                <a:gd name="T9" fmla="*/ 69 h 135"/>
                <a:gd name="T10" fmla="*/ 132 w 135"/>
                <a:gd name="T11" fmla="*/ 95 h 135"/>
                <a:gd name="T12" fmla="*/ 118 w 135"/>
                <a:gd name="T13" fmla="*/ 118 h 135"/>
                <a:gd name="T14" fmla="*/ 95 w 135"/>
                <a:gd name="T15" fmla="*/ 133 h 135"/>
                <a:gd name="T16" fmla="*/ 69 w 135"/>
                <a:gd name="T17" fmla="*/ 135 h 135"/>
                <a:gd name="T18" fmla="*/ 43 w 135"/>
                <a:gd name="T19" fmla="*/ 133 h 135"/>
                <a:gd name="T20" fmla="*/ 20 w 135"/>
                <a:gd name="T21" fmla="*/ 118 h 135"/>
                <a:gd name="T22" fmla="*/ 5 w 135"/>
                <a:gd name="T23" fmla="*/ 95 h 135"/>
                <a:gd name="T24" fmla="*/ 0 w 135"/>
                <a:gd name="T25" fmla="*/ 69 h 135"/>
                <a:gd name="T26" fmla="*/ 5 w 135"/>
                <a:gd name="T27" fmla="*/ 43 h 135"/>
                <a:gd name="T28" fmla="*/ 20 w 135"/>
                <a:gd name="T29" fmla="*/ 20 h 135"/>
                <a:gd name="T30" fmla="*/ 43 w 135"/>
                <a:gd name="T31" fmla="*/ 6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5" y="6"/>
                  </a:lnTo>
                  <a:lnTo>
                    <a:pt x="115" y="20"/>
                  </a:lnTo>
                  <a:lnTo>
                    <a:pt x="129" y="43"/>
                  </a:lnTo>
                  <a:lnTo>
                    <a:pt x="135" y="69"/>
                  </a:lnTo>
                  <a:lnTo>
                    <a:pt x="132" y="95"/>
                  </a:lnTo>
                  <a:lnTo>
                    <a:pt x="118" y="118"/>
                  </a:lnTo>
                  <a:lnTo>
                    <a:pt x="95" y="133"/>
                  </a:lnTo>
                  <a:lnTo>
                    <a:pt x="69" y="135"/>
                  </a:lnTo>
                  <a:lnTo>
                    <a:pt x="43" y="133"/>
                  </a:lnTo>
                  <a:lnTo>
                    <a:pt x="20" y="118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2" name="Freeform 150">
              <a:extLst>
                <a:ext uri="{FF2B5EF4-FFF2-40B4-BE49-F238E27FC236}">
                  <a16:creationId xmlns:a16="http://schemas.microsoft.com/office/drawing/2014/main" id="{0A47B62F-602C-4004-BBC0-F8A5709E5EF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074556" y="4589259"/>
              <a:ext cx="108008" cy="108808"/>
            </a:xfrm>
            <a:custGeom>
              <a:avLst/>
              <a:gdLst>
                <a:gd name="T0" fmla="*/ 66 w 135"/>
                <a:gd name="T1" fmla="*/ 0 h 136"/>
                <a:gd name="T2" fmla="*/ 92 w 135"/>
                <a:gd name="T3" fmla="*/ 6 h 136"/>
                <a:gd name="T4" fmla="*/ 115 w 135"/>
                <a:gd name="T5" fmla="*/ 21 h 136"/>
                <a:gd name="T6" fmla="*/ 130 w 135"/>
                <a:gd name="T7" fmla="*/ 41 h 136"/>
                <a:gd name="T8" fmla="*/ 135 w 135"/>
                <a:gd name="T9" fmla="*/ 67 h 136"/>
                <a:gd name="T10" fmla="*/ 130 w 135"/>
                <a:gd name="T11" fmla="*/ 93 h 136"/>
                <a:gd name="T12" fmla="*/ 115 w 135"/>
                <a:gd name="T13" fmla="*/ 116 h 136"/>
                <a:gd name="T14" fmla="*/ 95 w 135"/>
                <a:gd name="T15" fmla="*/ 130 h 136"/>
                <a:gd name="T16" fmla="*/ 69 w 135"/>
                <a:gd name="T17" fmla="*/ 136 h 136"/>
                <a:gd name="T18" fmla="*/ 40 w 135"/>
                <a:gd name="T19" fmla="*/ 133 h 136"/>
                <a:gd name="T20" fmla="*/ 20 w 135"/>
                <a:gd name="T21" fmla="*/ 116 h 136"/>
                <a:gd name="T22" fmla="*/ 6 w 135"/>
                <a:gd name="T23" fmla="*/ 95 h 136"/>
                <a:gd name="T24" fmla="*/ 0 w 135"/>
                <a:gd name="T25" fmla="*/ 70 h 136"/>
                <a:gd name="T26" fmla="*/ 3 w 135"/>
                <a:gd name="T27" fmla="*/ 44 h 136"/>
                <a:gd name="T28" fmla="*/ 20 w 135"/>
                <a:gd name="T29" fmla="*/ 21 h 136"/>
                <a:gd name="T30" fmla="*/ 40 w 135"/>
                <a:gd name="T31" fmla="*/ 6 h 136"/>
                <a:gd name="T32" fmla="*/ 66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6" y="0"/>
                  </a:moveTo>
                  <a:lnTo>
                    <a:pt x="92" y="6"/>
                  </a:lnTo>
                  <a:lnTo>
                    <a:pt x="115" y="21"/>
                  </a:lnTo>
                  <a:lnTo>
                    <a:pt x="130" y="41"/>
                  </a:lnTo>
                  <a:lnTo>
                    <a:pt x="135" y="67"/>
                  </a:lnTo>
                  <a:lnTo>
                    <a:pt x="130" y="93"/>
                  </a:lnTo>
                  <a:lnTo>
                    <a:pt x="115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0" y="133"/>
                  </a:lnTo>
                  <a:lnTo>
                    <a:pt x="20" y="116"/>
                  </a:lnTo>
                  <a:lnTo>
                    <a:pt x="6" y="95"/>
                  </a:lnTo>
                  <a:lnTo>
                    <a:pt x="0" y="70"/>
                  </a:lnTo>
                  <a:lnTo>
                    <a:pt x="3" y="44"/>
                  </a:lnTo>
                  <a:lnTo>
                    <a:pt x="20" y="21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3" name="Freeform 151">
              <a:extLst>
                <a:ext uri="{FF2B5EF4-FFF2-40B4-BE49-F238E27FC236}">
                  <a16:creationId xmlns:a16="http://schemas.microsoft.com/office/drawing/2014/main" id="{1DE06334-E56B-44BA-9C04-9E3FFEEA991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942547" y="4406845"/>
              <a:ext cx="108808" cy="111208"/>
            </a:xfrm>
            <a:custGeom>
              <a:avLst/>
              <a:gdLst>
                <a:gd name="T0" fmla="*/ 67 w 136"/>
                <a:gd name="T1" fmla="*/ 0 h 139"/>
                <a:gd name="T2" fmla="*/ 92 w 136"/>
                <a:gd name="T3" fmla="*/ 6 h 139"/>
                <a:gd name="T4" fmla="*/ 116 w 136"/>
                <a:gd name="T5" fmla="*/ 20 h 139"/>
                <a:gd name="T6" fmla="*/ 130 w 136"/>
                <a:gd name="T7" fmla="*/ 43 h 139"/>
                <a:gd name="T8" fmla="*/ 136 w 136"/>
                <a:gd name="T9" fmla="*/ 69 h 139"/>
                <a:gd name="T10" fmla="*/ 130 w 136"/>
                <a:gd name="T11" fmla="*/ 95 h 139"/>
                <a:gd name="T12" fmla="*/ 116 w 136"/>
                <a:gd name="T13" fmla="*/ 118 h 139"/>
                <a:gd name="T14" fmla="*/ 95 w 136"/>
                <a:gd name="T15" fmla="*/ 133 h 139"/>
                <a:gd name="T16" fmla="*/ 69 w 136"/>
                <a:gd name="T17" fmla="*/ 139 h 139"/>
                <a:gd name="T18" fmla="*/ 43 w 136"/>
                <a:gd name="T19" fmla="*/ 133 h 139"/>
                <a:gd name="T20" fmla="*/ 20 w 136"/>
                <a:gd name="T21" fmla="*/ 118 h 139"/>
                <a:gd name="T22" fmla="*/ 6 w 136"/>
                <a:gd name="T23" fmla="*/ 95 h 139"/>
                <a:gd name="T24" fmla="*/ 0 w 136"/>
                <a:gd name="T25" fmla="*/ 69 h 139"/>
                <a:gd name="T26" fmla="*/ 6 w 136"/>
                <a:gd name="T27" fmla="*/ 43 h 139"/>
                <a:gd name="T28" fmla="*/ 20 w 136"/>
                <a:gd name="T29" fmla="*/ 20 h 139"/>
                <a:gd name="T30" fmla="*/ 41 w 136"/>
                <a:gd name="T31" fmla="*/ 6 h 139"/>
                <a:gd name="T32" fmla="*/ 67 w 136"/>
                <a:gd name="T33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9">
                  <a:moveTo>
                    <a:pt x="67" y="0"/>
                  </a:moveTo>
                  <a:lnTo>
                    <a:pt x="92" y="6"/>
                  </a:lnTo>
                  <a:lnTo>
                    <a:pt x="116" y="20"/>
                  </a:lnTo>
                  <a:lnTo>
                    <a:pt x="130" y="43"/>
                  </a:lnTo>
                  <a:lnTo>
                    <a:pt x="136" y="69"/>
                  </a:lnTo>
                  <a:lnTo>
                    <a:pt x="130" y="95"/>
                  </a:lnTo>
                  <a:lnTo>
                    <a:pt x="116" y="118"/>
                  </a:lnTo>
                  <a:lnTo>
                    <a:pt x="95" y="133"/>
                  </a:lnTo>
                  <a:lnTo>
                    <a:pt x="69" y="139"/>
                  </a:lnTo>
                  <a:lnTo>
                    <a:pt x="43" y="133"/>
                  </a:lnTo>
                  <a:lnTo>
                    <a:pt x="20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4" name="Freeform 152">
              <a:extLst>
                <a:ext uri="{FF2B5EF4-FFF2-40B4-BE49-F238E27FC236}">
                  <a16:creationId xmlns:a16="http://schemas.microsoft.com/office/drawing/2014/main" id="{ACC6C9C6-09F3-435C-8984-E578F8A17F6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827338" y="4215632"/>
              <a:ext cx="111208" cy="108808"/>
            </a:xfrm>
            <a:custGeom>
              <a:avLst/>
              <a:gdLst>
                <a:gd name="T0" fmla="*/ 70 w 139"/>
                <a:gd name="T1" fmla="*/ 0 h 136"/>
                <a:gd name="T2" fmla="*/ 96 w 139"/>
                <a:gd name="T3" fmla="*/ 6 h 136"/>
                <a:gd name="T4" fmla="*/ 119 w 139"/>
                <a:gd name="T5" fmla="*/ 20 h 136"/>
                <a:gd name="T6" fmla="*/ 133 w 139"/>
                <a:gd name="T7" fmla="*/ 41 h 136"/>
                <a:gd name="T8" fmla="*/ 139 w 139"/>
                <a:gd name="T9" fmla="*/ 67 h 136"/>
                <a:gd name="T10" fmla="*/ 133 w 139"/>
                <a:gd name="T11" fmla="*/ 95 h 136"/>
                <a:gd name="T12" fmla="*/ 119 w 139"/>
                <a:gd name="T13" fmla="*/ 116 h 136"/>
                <a:gd name="T14" fmla="*/ 96 w 139"/>
                <a:gd name="T15" fmla="*/ 130 h 136"/>
                <a:gd name="T16" fmla="*/ 70 w 139"/>
                <a:gd name="T17" fmla="*/ 136 h 136"/>
                <a:gd name="T18" fmla="*/ 44 w 139"/>
                <a:gd name="T19" fmla="*/ 133 h 136"/>
                <a:gd name="T20" fmla="*/ 21 w 139"/>
                <a:gd name="T21" fmla="*/ 116 h 136"/>
                <a:gd name="T22" fmla="*/ 6 w 139"/>
                <a:gd name="T23" fmla="*/ 95 h 136"/>
                <a:gd name="T24" fmla="*/ 0 w 139"/>
                <a:gd name="T25" fmla="*/ 69 h 136"/>
                <a:gd name="T26" fmla="*/ 6 w 139"/>
                <a:gd name="T27" fmla="*/ 44 h 136"/>
                <a:gd name="T28" fmla="*/ 21 w 139"/>
                <a:gd name="T29" fmla="*/ 20 h 136"/>
                <a:gd name="T30" fmla="*/ 44 w 139"/>
                <a:gd name="T31" fmla="*/ 6 h 136"/>
                <a:gd name="T32" fmla="*/ 70 w 139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6">
                  <a:moveTo>
                    <a:pt x="70" y="0"/>
                  </a:moveTo>
                  <a:lnTo>
                    <a:pt x="96" y="6"/>
                  </a:lnTo>
                  <a:lnTo>
                    <a:pt x="119" y="20"/>
                  </a:lnTo>
                  <a:lnTo>
                    <a:pt x="133" y="41"/>
                  </a:lnTo>
                  <a:lnTo>
                    <a:pt x="139" y="67"/>
                  </a:lnTo>
                  <a:lnTo>
                    <a:pt x="133" y="95"/>
                  </a:lnTo>
                  <a:lnTo>
                    <a:pt x="119" y="116"/>
                  </a:lnTo>
                  <a:lnTo>
                    <a:pt x="96" y="130"/>
                  </a:lnTo>
                  <a:lnTo>
                    <a:pt x="70" y="136"/>
                  </a:lnTo>
                  <a:lnTo>
                    <a:pt x="44" y="133"/>
                  </a:lnTo>
                  <a:lnTo>
                    <a:pt x="21" y="116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4"/>
                  </a:lnTo>
                  <a:lnTo>
                    <a:pt x="21" y="20"/>
                  </a:lnTo>
                  <a:lnTo>
                    <a:pt x="44" y="6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5" name="Freeform 153">
              <a:extLst>
                <a:ext uri="{FF2B5EF4-FFF2-40B4-BE49-F238E27FC236}">
                  <a16:creationId xmlns:a16="http://schemas.microsoft.com/office/drawing/2014/main" id="{BD1B2AE6-CF68-4344-ADD1-9EA36E94A90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732931" y="4013217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2 w 135"/>
                <a:gd name="T3" fmla="*/ 6 h 135"/>
                <a:gd name="T4" fmla="*/ 115 w 135"/>
                <a:gd name="T5" fmla="*/ 20 h 135"/>
                <a:gd name="T6" fmla="*/ 129 w 135"/>
                <a:gd name="T7" fmla="*/ 40 h 135"/>
                <a:gd name="T8" fmla="*/ 135 w 135"/>
                <a:gd name="T9" fmla="*/ 66 h 135"/>
                <a:gd name="T10" fmla="*/ 129 w 135"/>
                <a:gd name="T11" fmla="*/ 95 h 135"/>
                <a:gd name="T12" fmla="*/ 115 w 135"/>
                <a:gd name="T13" fmla="*/ 115 h 135"/>
                <a:gd name="T14" fmla="*/ 92 w 135"/>
                <a:gd name="T15" fmla="*/ 130 h 135"/>
                <a:gd name="T16" fmla="*/ 66 w 135"/>
                <a:gd name="T17" fmla="*/ 135 h 135"/>
                <a:gd name="T18" fmla="*/ 40 w 135"/>
                <a:gd name="T19" fmla="*/ 130 h 135"/>
                <a:gd name="T20" fmla="*/ 17 w 135"/>
                <a:gd name="T21" fmla="*/ 115 h 135"/>
                <a:gd name="T22" fmla="*/ 2 w 135"/>
                <a:gd name="T23" fmla="*/ 95 h 135"/>
                <a:gd name="T24" fmla="*/ 0 w 135"/>
                <a:gd name="T25" fmla="*/ 69 h 135"/>
                <a:gd name="T26" fmla="*/ 2 w 135"/>
                <a:gd name="T27" fmla="*/ 43 h 135"/>
                <a:gd name="T28" fmla="*/ 17 w 135"/>
                <a:gd name="T29" fmla="*/ 20 h 135"/>
                <a:gd name="T30" fmla="*/ 40 w 135"/>
                <a:gd name="T31" fmla="*/ 6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2" y="6"/>
                  </a:lnTo>
                  <a:lnTo>
                    <a:pt x="115" y="20"/>
                  </a:lnTo>
                  <a:lnTo>
                    <a:pt x="129" y="40"/>
                  </a:lnTo>
                  <a:lnTo>
                    <a:pt x="135" y="66"/>
                  </a:lnTo>
                  <a:lnTo>
                    <a:pt x="129" y="95"/>
                  </a:lnTo>
                  <a:lnTo>
                    <a:pt x="115" y="115"/>
                  </a:lnTo>
                  <a:lnTo>
                    <a:pt x="92" y="130"/>
                  </a:lnTo>
                  <a:lnTo>
                    <a:pt x="66" y="135"/>
                  </a:lnTo>
                  <a:lnTo>
                    <a:pt x="40" y="130"/>
                  </a:lnTo>
                  <a:lnTo>
                    <a:pt x="17" y="115"/>
                  </a:lnTo>
                  <a:lnTo>
                    <a:pt x="2" y="95"/>
                  </a:lnTo>
                  <a:lnTo>
                    <a:pt x="0" y="69"/>
                  </a:lnTo>
                  <a:lnTo>
                    <a:pt x="2" y="43"/>
                  </a:lnTo>
                  <a:lnTo>
                    <a:pt x="17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6" name="Freeform 154">
              <a:extLst>
                <a:ext uri="{FF2B5EF4-FFF2-40B4-BE49-F238E27FC236}">
                  <a16:creationId xmlns:a16="http://schemas.microsoft.com/office/drawing/2014/main" id="{B2D69348-023F-40D3-9086-6977E00437A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659326" y="3800401"/>
              <a:ext cx="108008" cy="108808"/>
            </a:xfrm>
            <a:custGeom>
              <a:avLst/>
              <a:gdLst>
                <a:gd name="T0" fmla="*/ 66 w 135"/>
                <a:gd name="T1" fmla="*/ 0 h 136"/>
                <a:gd name="T2" fmla="*/ 95 w 135"/>
                <a:gd name="T3" fmla="*/ 3 h 136"/>
                <a:gd name="T4" fmla="*/ 115 w 135"/>
                <a:gd name="T5" fmla="*/ 20 h 136"/>
                <a:gd name="T6" fmla="*/ 130 w 135"/>
                <a:gd name="T7" fmla="*/ 40 h 136"/>
                <a:gd name="T8" fmla="*/ 135 w 135"/>
                <a:gd name="T9" fmla="*/ 66 h 136"/>
                <a:gd name="T10" fmla="*/ 130 w 135"/>
                <a:gd name="T11" fmla="*/ 92 h 136"/>
                <a:gd name="T12" fmla="*/ 115 w 135"/>
                <a:gd name="T13" fmla="*/ 115 h 136"/>
                <a:gd name="T14" fmla="*/ 95 w 135"/>
                <a:gd name="T15" fmla="*/ 130 h 136"/>
                <a:gd name="T16" fmla="*/ 69 w 135"/>
                <a:gd name="T17" fmla="*/ 136 h 136"/>
                <a:gd name="T18" fmla="*/ 43 w 135"/>
                <a:gd name="T19" fmla="*/ 130 h 136"/>
                <a:gd name="T20" fmla="*/ 20 w 135"/>
                <a:gd name="T21" fmla="*/ 115 h 136"/>
                <a:gd name="T22" fmla="*/ 6 w 135"/>
                <a:gd name="T23" fmla="*/ 92 h 136"/>
                <a:gd name="T24" fmla="*/ 0 w 135"/>
                <a:gd name="T25" fmla="*/ 69 h 136"/>
                <a:gd name="T26" fmla="*/ 6 w 135"/>
                <a:gd name="T27" fmla="*/ 40 h 136"/>
                <a:gd name="T28" fmla="*/ 20 w 135"/>
                <a:gd name="T29" fmla="*/ 20 h 136"/>
                <a:gd name="T30" fmla="*/ 40 w 135"/>
                <a:gd name="T31" fmla="*/ 6 h 136"/>
                <a:gd name="T32" fmla="*/ 66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6" y="0"/>
                  </a:moveTo>
                  <a:lnTo>
                    <a:pt x="95" y="3"/>
                  </a:lnTo>
                  <a:lnTo>
                    <a:pt x="115" y="20"/>
                  </a:lnTo>
                  <a:lnTo>
                    <a:pt x="130" y="40"/>
                  </a:lnTo>
                  <a:lnTo>
                    <a:pt x="135" y="66"/>
                  </a:lnTo>
                  <a:lnTo>
                    <a:pt x="130" y="92"/>
                  </a:lnTo>
                  <a:lnTo>
                    <a:pt x="115" y="115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5"/>
                  </a:lnTo>
                  <a:lnTo>
                    <a:pt x="6" y="92"/>
                  </a:lnTo>
                  <a:lnTo>
                    <a:pt x="0" y="69"/>
                  </a:lnTo>
                  <a:lnTo>
                    <a:pt x="6" y="40"/>
                  </a:lnTo>
                  <a:lnTo>
                    <a:pt x="20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7" name="Freeform 155">
              <a:extLst>
                <a:ext uri="{FF2B5EF4-FFF2-40B4-BE49-F238E27FC236}">
                  <a16:creationId xmlns:a16="http://schemas.microsoft.com/office/drawing/2014/main" id="{E8C261F0-7233-429B-AF68-D0EC8FB7E76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604122" y="3584385"/>
              <a:ext cx="110408" cy="108008"/>
            </a:xfrm>
            <a:custGeom>
              <a:avLst/>
              <a:gdLst>
                <a:gd name="T0" fmla="*/ 66 w 138"/>
                <a:gd name="T1" fmla="*/ 0 h 135"/>
                <a:gd name="T2" fmla="*/ 95 w 138"/>
                <a:gd name="T3" fmla="*/ 6 h 135"/>
                <a:gd name="T4" fmla="*/ 118 w 138"/>
                <a:gd name="T5" fmla="*/ 20 h 135"/>
                <a:gd name="T6" fmla="*/ 133 w 138"/>
                <a:gd name="T7" fmla="*/ 40 h 135"/>
                <a:gd name="T8" fmla="*/ 138 w 138"/>
                <a:gd name="T9" fmla="*/ 66 h 135"/>
                <a:gd name="T10" fmla="*/ 133 w 138"/>
                <a:gd name="T11" fmla="*/ 92 h 135"/>
                <a:gd name="T12" fmla="*/ 118 w 138"/>
                <a:gd name="T13" fmla="*/ 115 h 135"/>
                <a:gd name="T14" fmla="*/ 95 w 138"/>
                <a:gd name="T15" fmla="*/ 130 h 135"/>
                <a:gd name="T16" fmla="*/ 69 w 138"/>
                <a:gd name="T17" fmla="*/ 135 h 135"/>
                <a:gd name="T18" fmla="*/ 43 w 138"/>
                <a:gd name="T19" fmla="*/ 133 h 135"/>
                <a:gd name="T20" fmla="*/ 20 w 138"/>
                <a:gd name="T21" fmla="*/ 115 h 135"/>
                <a:gd name="T22" fmla="*/ 6 w 138"/>
                <a:gd name="T23" fmla="*/ 95 h 135"/>
                <a:gd name="T24" fmla="*/ 0 w 138"/>
                <a:gd name="T25" fmla="*/ 69 h 135"/>
                <a:gd name="T26" fmla="*/ 6 w 138"/>
                <a:gd name="T27" fmla="*/ 43 h 135"/>
                <a:gd name="T28" fmla="*/ 20 w 138"/>
                <a:gd name="T29" fmla="*/ 20 h 135"/>
                <a:gd name="T30" fmla="*/ 43 w 138"/>
                <a:gd name="T31" fmla="*/ 6 h 135"/>
                <a:gd name="T32" fmla="*/ 66 w 138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5">
                  <a:moveTo>
                    <a:pt x="66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3" y="40"/>
                  </a:lnTo>
                  <a:lnTo>
                    <a:pt x="138" y="66"/>
                  </a:lnTo>
                  <a:lnTo>
                    <a:pt x="133" y="92"/>
                  </a:lnTo>
                  <a:lnTo>
                    <a:pt x="118" y="115"/>
                  </a:lnTo>
                  <a:lnTo>
                    <a:pt x="95" y="130"/>
                  </a:lnTo>
                  <a:lnTo>
                    <a:pt x="69" y="135"/>
                  </a:lnTo>
                  <a:lnTo>
                    <a:pt x="43" y="133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8" name="Freeform 156">
              <a:extLst>
                <a:ext uri="{FF2B5EF4-FFF2-40B4-BE49-F238E27FC236}">
                  <a16:creationId xmlns:a16="http://schemas.microsoft.com/office/drawing/2014/main" id="{9C12E719-ED29-4D41-8E2A-364A204F0DF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571320" y="3362769"/>
              <a:ext cx="111208" cy="108008"/>
            </a:xfrm>
            <a:custGeom>
              <a:avLst/>
              <a:gdLst>
                <a:gd name="T0" fmla="*/ 70 w 139"/>
                <a:gd name="T1" fmla="*/ 0 h 135"/>
                <a:gd name="T2" fmla="*/ 96 w 139"/>
                <a:gd name="T3" fmla="*/ 5 h 135"/>
                <a:gd name="T4" fmla="*/ 119 w 139"/>
                <a:gd name="T5" fmla="*/ 20 h 135"/>
                <a:gd name="T6" fmla="*/ 133 w 139"/>
                <a:gd name="T7" fmla="*/ 40 h 135"/>
                <a:gd name="T8" fmla="*/ 139 w 139"/>
                <a:gd name="T9" fmla="*/ 66 h 135"/>
                <a:gd name="T10" fmla="*/ 133 w 139"/>
                <a:gd name="T11" fmla="*/ 95 h 135"/>
                <a:gd name="T12" fmla="*/ 119 w 139"/>
                <a:gd name="T13" fmla="*/ 115 h 135"/>
                <a:gd name="T14" fmla="*/ 96 w 139"/>
                <a:gd name="T15" fmla="*/ 129 h 135"/>
                <a:gd name="T16" fmla="*/ 70 w 139"/>
                <a:gd name="T17" fmla="*/ 135 h 135"/>
                <a:gd name="T18" fmla="*/ 44 w 139"/>
                <a:gd name="T19" fmla="*/ 132 h 135"/>
                <a:gd name="T20" fmla="*/ 21 w 139"/>
                <a:gd name="T21" fmla="*/ 115 h 135"/>
                <a:gd name="T22" fmla="*/ 6 w 139"/>
                <a:gd name="T23" fmla="*/ 95 h 135"/>
                <a:gd name="T24" fmla="*/ 0 w 139"/>
                <a:gd name="T25" fmla="*/ 69 h 135"/>
                <a:gd name="T26" fmla="*/ 6 w 139"/>
                <a:gd name="T27" fmla="*/ 43 h 135"/>
                <a:gd name="T28" fmla="*/ 21 w 139"/>
                <a:gd name="T29" fmla="*/ 20 h 135"/>
                <a:gd name="T30" fmla="*/ 44 w 139"/>
                <a:gd name="T31" fmla="*/ 5 h 135"/>
                <a:gd name="T32" fmla="*/ 70 w 139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5">
                  <a:moveTo>
                    <a:pt x="70" y="0"/>
                  </a:moveTo>
                  <a:lnTo>
                    <a:pt x="96" y="5"/>
                  </a:lnTo>
                  <a:lnTo>
                    <a:pt x="119" y="20"/>
                  </a:lnTo>
                  <a:lnTo>
                    <a:pt x="133" y="40"/>
                  </a:lnTo>
                  <a:lnTo>
                    <a:pt x="139" y="66"/>
                  </a:lnTo>
                  <a:lnTo>
                    <a:pt x="133" y="95"/>
                  </a:lnTo>
                  <a:lnTo>
                    <a:pt x="119" y="115"/>
                  </a:lnTo>
                  <a:lnTo>
                    <a:pt x="96" y="129"/>
                  </a:lnTo>
                  <a:lnTo>
                    <a:pt x="70" y="135"/>
                  </a:lnTo>
                  <a:lnTo>
                    <a:pt x="44" y="132"/>
                  </a:lnTo>
                  <a:lnTo>
                    <a:pt x="21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1" y="20"/>
                  </a:lnTo>
                  <a:lnTo>
                    <a:pt x="44" y="5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9" name="Freeform 157">
              <a:extLst>
                <a:ext uri="{FF2B5EF4-FFF2-40B4-BE49-F238E27FC236}">
                  <a16:creationId xmlns:a16="http://schemas.microsoft.com/office/drawing/2014/main" id="{4E20F465-006A-4F50-ACCA-AB1B8AB806E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560119" y="3138753"/>
              <a:ext cx="110408" cy="108808"/>
            </a:xfrm>
            <a:custGeom>
              <a:avLst/>
              <a:gdLst>
                <a:gd name="T0" fmla="*/ 69 w 138"/>
                <a:gd name="T1" fmla="*/ 0 h 136"/>
                <a:gd name="T2" fmla="*/ 95 w 138"/>
                <a:gd name="T3" fmla="*/ 6 h 136"/>
                <a:gd name="T4" fmla="*/ 118 w 138"/>
                <a:gd name="T5" fmla="*/ 20 h 136"/>
                <a:gd name="T6" fmla="*/ 132 w 138"/>
                <a:gd name="T7" fmla="*/ 41 h 136"/>
                <a:gd name="T8" fmla="*/ 138 w 138"/>
                <a:gd name="T9" fmla="*/ 67 h 136"/>
                <a:gd name="T10" fmla="*/ 132 w 138"/>
                <a:gd name="T11" fmla="*/ 95 h 136"/>
                <a:gd name="T12" fmla="*/ 118 w 138"/>
                <a:gd name="T13" fmla="*/ 116 h 136"/>
                <a:gd name="T14" fmla="*/ 95 w 138"/>
                <a:gd name="T15" fmla="*/ 130 h 136"/>
                <a:gd name="T16" fmla="*/ 69 w 138"/>
                <a:gd name="T17" fmla="*/ 136 h 136"/>
                <a:gd name="T18" fmla="*/ 43 w 138"/>
                <a:gd name="T19" fmla="*/ 133 h 136"/>
                <a:gd name="T20" fmla="*/ 20 w 138"/>
                <a:gd name="T21" fmla="*/ 116 h 136"/>
                <a:gd name="T22" fmla="*/ 6 w 138"/>
                <a:gd name="T23" fmla="*/ 95 h 136"/>
                <a:gd name="T24" fmla="*/ 0 w 138"/>
                <a:gd name="T25" fmla="*/ 69 h 136"/>
                <a:gd name="T26" fmla="*/ 6 w 138"/>
                <a:gd name="T27" fmla="*/ 43 h 136"/>
                <a:gd name="T28" fmla="*/ 20 w 138"/>
                <a:gd name="T29" fmla="*/ 20 h 136"/>
                <a:gd name="T30" fmla="*/ 43 w 138"/>
                <a:gd name="T31" fmla="*/ 6 h 136"/>
                <a:gd name="T32" fmla="*/ 69 w 138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6">
                  <a:moveTo>
                    <a:pt x="69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2" y="41"/>
                  </a:lnTo>
                  <a:lnTo>
                    <a:pt x="138" y="67"/>
                  </a:lnTo>
                  <a:lnTo>
                    <a:pt x="132" y="95"/>
                  </a:lnTo>
                  <a:lnTo>
                    <a:pt x="118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3"/>
                  </a:lnTo>
                  <a:lnTo>
                    <a:pt x="20" y="116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0" name="Freeform 158">
              <a:extLst>
                <a:ext uri="{FF2B5EF4-FFF2-40B4-BE49-F238E27FC236}">
                  <a16:creationId xmlns:a16="http://schemas.microsoft.com/office/drawing/2014/main" id="{B3F3F6E0-2C0C-4C1E-93F1-F34926D9051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571320" y="2915537"/>
              <a:ext cx="108808" cy="108008"/>
            </a:xfrm>
            <a:custGeom>
              <a:avLst/>
              <a:gdLst>
                <a:gd name="T0" fmla="*/ 67 w 136"/>
                <a:gd name="T1" fmla="*/ 0 h 135"/>
                <a:gd name="T2" fmla="*/ 93 w 136"/>
                <a:gd name="T3" fmla="*/ 6 h 135"/>
                <a:gd name="T4" fmla="*/ 116 w 136"/>
                <a:gd name="T5" fmla="*/ 20 h 135"/>
                <a:gd name="T6" fmla="*/ 130 w 136"/>
                <a:gd name="T7" fmla="*/ 43 h 135"/>
                <a:gd name="T8" fmla="*/ 136 w 136"/>
                <a:gd name="T9" fmla="*/ 69 h 135"/>
                <a:gd name="T10" fmla="*/ 130 w 136"/>
                <a:gd name="T11" fmla="*/ 95 h 135"/>
                <a:gd name="T12" fmla="*/ 116 w 136"/>
                <a:gd name="T13" fmla="*/ 118 h 135"/>
                <a:gd name="T14" fmla="*/ 95 w 136"/>
                <a:gd name="T15" fmla="*/ 132 h 135"/>
                <a:gd name="T16" fmla="*/ 70 w 136"/>
                <a:gd name="T17" fmla="*/ 135 h 135"/>
                <a:gd name="T18" fmla="*/ 44 w 136"/>
                <a:gd name="T19" fmla="*/ 132 h 135"/>
                <a:gd name="T20" fmla="*/ 21 w 136"/>
                <a:gd name="T21" fmla="*/ 115 h 135"/>
                <a:gd name="T22" fmla="*/ 6 w 136"/>
                <a:gd name="T23" fmla="*/ 95 h 135"/>
                <a:gd name="T24" fmla="*/ 0 w 136"/>
                <a:gd name="T25" fmla="*/ 69 h 135"/>
                <a:gd name="T26" fmla="*/ 6 w 136"/>
                <a:gd name="T27" fmla="*/ 43 h 135"/>
                <a:gd name="T28" fmla="*/ 21 w 136"/>
                <a:gd name="T29" fmla="*/ 20 h 135"/>
                <a:gd name="T30" fmla="*/ 41 w 136"/>
                <a:gd name="T31" fmla="*/ 6 h 135"/>
                <a:gd name="T32" fmla="*/ 67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7" y="0"/>
                  </a:moveTo>
                  <a:lnTo>
                    <a:pt x="93" y="6"/>
                  </a:lnTo>
                  <a:lnTo>
                    <a:pt x="116" y="20"/>
                  </a:lnTo>
                  <a:lnTo>
                    <a:pt x="130" y="43"/>
                  </a:lnTo>
                  <a:lnTo>
                    <a:pt x="136" y="69"/>
                  </a:lnTo>
                  <a:lnTo>
                    <a:pt x="130" y="95"/>
                  </a:lnTo>
                  <a:lnTo>
                    <a:pt x="116" y="118"/>
                  </a:lnTo>
                  <a:lnTo>
                    <a:pt x="95" y="132"/>
                  </a:lnTo>
                  <a:lnTo>
                    <a:pt x="70" y="135"/>
                  </a:lnTo>
                  <a:lnTo>
                    <a:pt x="44" y="132"/>
                  </a:lnTo>
                  <a:lnTo>
                    <a:pt x="21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1" y="20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1" name="Freeform 159">
              <a:extLst>
                <a:ext uri="{FF2B5EF4-FFF2-40B4-BE49-F238E27FC236}">
                  <a16:creationId xmlns:a16="http://schemas.microsoft.com/office/drawing/2014/main" id="{1CD42BD5-4EBC-4FA6-9E25-BE13E121AE8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604122" y="2691520"/>
              <a:ext cx="108008" cy="111208"/>
            </a:xfrm>
            <a:custGeom>
              <a:avLst/>
              <a:gdLst>
                <a:gd name="T0" fmla="*/ 66 w 135"/>
                <a:gd name="T1" fmla="*/ 0 h 139"/>
                <a:gd name="T2" fmla="*/ 92 w 135"/>
                <a:gd name="T3" fmla="*/ 6 h 139"/>
                <a:gd name="T4" fmla="*/ 115 w 135"/>
                <a:gd name="T5" fmla="*/ 21 h 139"/>
                <a:gd name="T6" fmla="*/ 130 w 135"/>
                <a:gd name="T7" fmla="*/ 44 h 139"/>
                <a:gd name="T8" fmla="*/ 135 w 135"/>
                <a:gd name="T9" fmla="*/ 70 h 139"/>
                <a:gd name="T10" fmla="*/ 130 w 135"/>
                <a:gd name="T11" fmla="*/ 96 h 139"/>
                <a:gd name="T12" fmla="*/ 115 w 135"/>
                <a:gd name="T13" fmla="*/ 119 h 139"/>
                <a:gd name="T14" fmla="*/ 95 w 135"/>
                <a:gd name="T15" fmla="*/ 133 h 139"/>
                <a:gd name="T16" fmla="*/ 69 w 135"/>
                <a:gd name="T17" fmla="*/ 139 h 139"/>
                <a:gd name="T18" fmla="*/ 43 w 135"/>
                <a:gd name="T19" fmla="*/ 133 h 139"/>
                <a:gd name="T20" fmla="*/ 20 w 135"/>
                <a:gd name="T21" fmla="*/ 119 h 139"/>
                <a:gd name="T22" fmla="*/ 6 w 135"/>
                <a:gd name="T23" fmla="*/ 96 h 139"/>
                <a:gd name="T24" fmla="*/ 0 w 135"/>
                <a:gd name="T25" fmla="*/ 70 h 139"/>
                <a:gd name="T26" fmla="*/ 6 w 135"/>
                <a:gd name="T27" fmla="*/ 44 h 139"/>
                <a:gd name="T28" fmla="*/ 20 w 135"/>
                <a:gd name="T29" fmla="*/ 21 h 139"/>
                <a:gd name="T30" fmla="*/ 40 w 135"/>
                <a:gd name="T31" fmla="*/ 6 h 139"/>
                <a:gd name="T32" fmla="*/ 66 w 135"/>
                <a:gd name="T33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9">
                  <a:moveTo>
                    <a:pt x="66" y="0"/>
                  </a:moveTo>
                  <a:lnTo>
                    <a:pt x="92" y="6"/>
                  </a:lnTo>
                  <a:lnTo>
                    <a:pt x="115" y="21"/>
                  </a:lnTo>
                  <a:lnTo>
                    <a:pt x="130" y="44"/>
                  </a:lnTo>
                  <a:lnTo>
                    <a:pt x="135" y="70"/>
                  </a:lnTo>
                  <a:lnTo>
                    <a:pt x="130" y="96"/>
                  </a:lnTo>
                  <a:lnTo>
                    <a:pt x="115" y="119"/>
                  </a:lnTo>
                  <a:lnTo>
                    <a:pt x="95" y="133"/>
                  </a:lnTo>
                  <a:lnTo>
                    <a:pt x="69" y="139"/>
                  </a:lnTo>
                  <a:lnTo>
                    <a:pt x="43" y="133"/>
                  </a:lnTo>
                  <a:lnTo>
                    <a:pt x="20" y="119"/>
                  </a:lnTo>
                  <a:lnTo>
                    <a:pt x="6" y="96"/>
                  </a:lnTo>
                  <a:lnTo>
                    <a:pt x="0" y="70"/>
                  </a:lnTo>
                  <a:lnTo>
                    <a:pt x="6" y="44"/>
                  </a:lnTo>
                  <a:lnTo>
                    <a:pt x="20" y="21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2" name="Freeform 160">
              <a:extLst>
                <a:ext uri="{FF2B5EF4-FFF2-40B4-BE49-F238E27FC236}">
                  <a16:creationId xmlns:a16="http://schemas.microsoft.com/office/drawing/2014/main" id="{36784734-58B6-4EEF-90E4-D94C39B6A29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200966" y="1285018"/>
              <a:ext cx="108808" cy="110408"/>
            </a:xfrm>
            <a:custGeom>
              <a:avLst/>
              <a:gdLst>
                <a:gd name="T0" fmla="*/ 67 w 136"/>
                <a:gd name="T1" fmla="*/ 0 h 138"/>
                <a:gd name="T2" fmla="*/ 93 w 136"/>
                <a:gd name="T3" fmla="*/ 5 h 138"/>
                <a:gd name="T4" fmla="*/ 116 w 136"/>
                <a:gd name="T5" fmla="*/ 20 h 138"/>
                <a:gd name="T6" fmla="*/ 130 w 136"/>
                <a:gd name="T7" fmla="*/ 43 h 138"/>
                <a:gd name="T8" fmla="*/ 136 w 136"/>
                <a:gd name="T9" fmla="*/ 69 h 138"/>
                <a:gd name="T10" fmla="*/ 130 w 136"/>
                <a:gd name="T11" fmla="*/ 95 h 138"/>
                <a:gd name="T12" fmla="*/ 116 w 136"/>
                <a:gd name="T13" fmla="*/ 118 h 138"/>
                <a:gd name="T14" fmla="*/ 93 w 136"/>
                <a:gd name="T15" fmla="*/ 132 h 138"/>
                <a:gd name="T16" fmla="*/ 70 w 136"/>
                <a:gd name="T17" fmla="*/ 138 h 138"/>
                <a:gd name="T18" fmla="*/ 41 w 136"/>
                <a:gd name="T19" fmla="*/ 132 h 138"/>
                <a:gd name="T20" fmla="*/ 21 w 136"/>
                <a:gd name="T21" fmla="*/ 118 h 138"/>
                <a:gd name="T22" fmla="*/ 3 w 136"/>
                <a:gd name="T23" fmla="*/ 95 h 138"/>
                <a:gd name="T24" fmla="*/ 0 w 136"/>
                <a:gd name="T25" fmla="*/ 69 h 138"/>
                <a:gd name="T26" fmla="*/ 3 w 136"/>
                <a:gd name="T27" fmla="*/ 43 h 138"/>
                <a:gd name="T28" fmla="*/ 18 w 136"/>
                <a:gd name="T29" fmla="*/ 20 h 138"/>
                <a:gd name="T30" fmla="*/ 41 w 136"/>
                <a:gd name="T31" fmla="*/ 5 h 138"/>
                <a:gd name="T32" fmla="*/ 67 w 136"/>
                <a:gd name="T3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8">
                  <a:moveTo>
                    <a:pt x="67" y="0"/>
                  </a:moveTo>
                  <a:lnTo>
                    <a:pt x="93" y="5"/>
                  </a:lnTo>
                  <a:lnTo>
                    <a:pt x="116" y="20"/>
                  </a:lnTo>
                  <a:lnTo>
                    <a:pt x="130" y="43"/>
                  </a:lnTo>
                  <a:lnTo>
                    <a:pt x="136" y="69"/>
                  </a:lnTo>
                  <a:lnTo>
                    <a:pt x="130" y="95"/>
                  </a:lnTo>
                  <a:lnTo>
                    <a:pt x="116" y="118"/>
                  </a:lnTo>
                  <a:lnTo>
                    <a:pt x="93" y="132"/>
                  </a:lnTo>
                  <a:lnTo>
                    <a:pt x="70" y="138"/>
                  </a:lnTo>
                  <a:lnTo>
                    <a:pt x="41" y="132"/>
                  </a:lnTo>
                  <a:lnTo>
                    <a:pt x="21" y="118"/>
                  </a:lnTo>
                  <a:lnTo>
                    <a:pt x="3" y="95"/>
                  </a:lnTo>
                  <a:lnTo>
                    <a:pt x="0" y="69"/>
                  </a:lnTo>
                  <a:lnTo>
                    <a:pt x="3" y="43"/>
                  </a:lnTo>
                  <a:lnTo>
                    <a:pt x="18" y="20"/>
                  </a:lnTo>
                  <a:lnTo>
                    <a:pt x="41" y="5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3" name="Freeform 161">
              <a:extLst>
                <a:ext uri="{FF2B5EF4-FFF2-40B4-BE49-F238E27FC236}">
                  <a16:creationId xmlns:a16="http://schemas.microsoft.com/office/drawing/2014/main" id="{4099B1D7-31CE-4DDC-93DD-D7D5524D3B3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373778" y="1141807"/>
              <a:ext cx="108808" cy="111208"/>
            </a:xfrm>
            <a:custGeom>
              <a:avLst/>
              <a:gdLst>
                <a:gd name="T0" fmla="*/ 66 w 136"/>
                <a:gd name="T1" fmla="*/ 0 h 139"/>
                <a:gd name="T2" fmla="*/ 92 w 136"/>
                <a:gd name="T3" fmla="*/ 6 h 139"/>
                <a:gd name="T4" fmla="*/ 115 w 136"/>
                <a:gd name="T5" fmla="*/ 20 h 139"/>
                <a:gd name="T6" fmla="*/ 130 w 136"/>
                <a:gd name="T7" fmla="*/ 44 h 139"/>
                <a:gd name="T8" fmla="*/ 136 w 136"/>
                <a:gd name="T9" fmla="*/ 69 h 139"/>
                <a:gd name="T10" fmla="*/ 130 w 136"/>
                <a:gd name="T11" fmla="*/ 95 h 139"/>
                <a:gd name="T12" fmla="*/ 115 w 136"/>
                <a:gd name="T13" fmla="*/ 118 h 139"/>
                <a:gd name="T14" fmla="*/ 95 w 136"/>
                <a:gd name="T15" fmla="*/ 133 h 139"/>
                <a:gd name="T16" fmla="*/ 69 w 136"/>
                <a:gd name="T17" fmla="*/ 139 h 139"/>
                <a:gd name="T18" fmla="*/ 43 w 136"/>
                <a:gd name="T19" fmla="*/ 133 h 139"/>
                <a:gd name="T20" fmla="*/ 20 w 136"/>
                <a:gd name="T21" fmla="*/ 118 h 139"/>
                <a:gd name="T22" fmla="*/ 6 w 136"/>
                <a:gd name="T23" fmla="*/ 95 h 139"/>
                <a:gd name="T24" fmla="*/ 0 w 136"/>
                <a:gd name="T25" fmla="*/ 72 h 139"/>
                <a:gd name="T26" fmla="*/ 6 w 136"/>
                <a:gd name="T27" fmla="*/ 44 h 139"/>
                <a:gd name="T28" fmla="*/ 20 w 136"/>
                <a:gd name="T29" fmla="*/ 20 h 139"/>
                <a:gd name="T30" fmla="*/ 40 w 136"/>
                <a:gd name="T31" fmla="*/ 6 h 139"/>
                <a:gd name="T32" fmla="*/ 66 w 136"/>
                <a:gd name="T33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9">
                  <a:moveTo>
                    <a:pt x="66" y="0"/>
                  </a:moveTo>
                  <a:lnTo>
                    <a:pt x="92" y="6"/>
                  </a:lnTo>
                  <a:lnTo>
                    <a:pt x="115" y="20"/>
                  </a:lnTo>
                  <a:lnTo>
                    <a:pt x="130" y="44"/>
                  </a:lnTo>
                  <a:lnTo>
                    <a:pt x="136" y="69"/>
                  </a:lnTo>
                  <a:lnTo>
                    <a:pt x="130" y="95"/>
                  </a:lnTo>
                  <a:lnTo>
                    <a:pt x="115" y="118"/>
                  </a:lnTo>
                  <a:lnTo>
                    <a:pt x="95" y="133"/>
                  </a:lnTo>
                  <a:lnTo>
                    <a:pt x="69" y="139"/>
                  </a:lnTo>
                  <a:lnTo>
                    <a:pt x="43" y="133"/>
                  </a:lnTo>
                  <a:lnTo>
                    <a:pt x="20" y="118"/>
                  </a:lnTo>
                  <a:lnTo>
                    <a:pt x="6" y="95"/>
                  </a:lnTo>
                  <a:lnTo>
                    <a:pt x="0" y="72"/>
                  </a:lnTo>
                  <a:lnTo>
                    <a:pt x="6" y="44"/>
                  </a:lnTo>
                  <a:lnTo>
                    <a:pt x="20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4" name="Freeform 162">
              <a:extLst>
                <a:ext uri="{FF2B5EF4-FFF2-40B4-BE49-F238E27FC236}">
                  <a16:creationId xmlns:a16="http://schemas.microsoft.com/office/drawing/2014/main" id="{C37EEAA7-A46F-487A-B491-EE8F4DE1408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754606" y="906591"/>
              <a:ext cx="108808" cy="108808"/>
            </a:xfrm>
            <a:custGeom>
              <a:avLst/>
              <a:gdLst>
                <a:gd name="T0" fmla="*/ 67 w 136"/>
                <a:gd name="T1" fmla="*/ 0 h 136"/>
                <a:gd name="T2" fmla="*/ 93 w 136"/>
                <a:gd name="T3" fmla="*/ 6 h 136"/>
                <a:gd name="T4" fmla="*/ 116 w 136"/>
                <a:gd name="T5" fmla="*/ 20 h 136"/>
                <a:gd name="T6" fmla="*/ 130 w 136"/>
                <a:gd name="T7" fmla="*/ 43 h 136"/>
                <a:gd name="T8" fmla="*/ 136 w 136"/>
                <a:gd name="T9" fmla="*/ 66 h 136"/>
                <a:gd name="T10" fmla="*/ 133 w 136"/>
                <a:gd name="T11" fmla="*/ 92 h 136"/>
                <a:gd name="T12" fmla="*/ 116 w 136"/>
                <a:gd name="T13" fmla="*/ 115 h 136"/>
                <a:gd name="T14" fmla="*/ 96 w 136"/>
                <a:gd name="T15" fmla="*/ 130 h 136"/>
                <a:gd name="T16" fmla="*/ 70 w 136"/>
                <a:gd name="T17" fmla="*/ 136 h 136"/>
                <a:gd name="T18" fmla="*/ 44 w 136"/>
                <a:gd name="T19" fmla="*/ 133 h 136"/>
                <a:gd name="T20" fmla="*/ 21 w 136"/>
                <a:gd name="T21" fmla="*/ 115 h 136"/>
                <a:gd name="T22" fmla="*/ 6 w 136"/>
                <a:gd name="T23" fmla="*/ 95 h 136"/>
                <a:gd name="T24" fmla="*/ 0 w 136"/>
                <a:gd name="T25" fmla="*/ 69 h 136"/>
                <a:gd name="T26" fmla="*/ 6 w 136"/>
                <a:gd name="T27" fmla="*/ 43 h 136"/>
                <a:gd name="T28" fmla="*/ 21 w 136"/>
                <a:gd name="T29" fmla="*/ 20 h 136"/>
                <a:gd name="T30" fmla="*/ 41 w 136"/>
                <a:gd name="T31" fmla="*/ 6 h 136"/>
                <a:gd name="T32" fmla="*/ 67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7" y="0"/>
                  </a:moveTo>
                  <a:lnTo>
                    <a:pt x="93" y="6"/>
                  </a:lnTo>
                  <a:lnTo>
                    <a:pt x="116" y="20"/>
                  </a:lnTo>
                  <a:lnTo>
                    <a:pt x="130" y="43"/>
                  </a:lnTo>
                  <a:lnTo>
                    <a:pt x="136" y="66"/>
                  </a:lnTo>
                  <a:lnTo>
                    <a:pt x="133" y="92"/>
                  </a:lnTo>
                  <a:lnTo>
                    <a:pt x="116" y="115"/>
                  </a:lnTo>
                  <a:lnTo>
                    <a:pt x="96" y="130"/>
                  </a:lnTo>
                  <a:lnTo>
                    <a:pt x="70" y="136"/>
                  </a:lnTo>
                  <a:lnTo>
                    <a:pt x="44" y="133"/>
                  </a:lnTo>
                  <a:lnTo>
                    <a:pt x="21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1" y="20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5" name="Freeform 163">
              <a:extLst>
                <a:ext uri="{FF2B5EF4-FFF2-40B4-BE49-F238E27FC236}">
                  <a16:creationId xmlns:a16="http://schemas.microsoft.com/office/drawing/2014/main" id="{F333C263-64F6-4540-A4E8-A0F084F506C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386652" y="688174"/>
              <a:ext cx="110408" cy="108008"/>
            </a:xfrm>
            <a:custGeom>
              <a:avLst/>
              <a:gdLst>
                <a:gd name="T0" fmla="*/ 66 w 138"/>
                <a:gd name="T1" fmla="*/ 0 h 135"/>
                <a:gd name="T2" fmla="*/ 95 w 138"/>
                <a:gd name="T3" fmla="*/ 6 h 135"/>
                <a:gd name="T4" fmla="*/ 118 w 138"/>
                <a:gd name="T5" fmla="*/ 20 h 135"/>
                <a:gd name="T6" fmla="*/ 132 w 138"/>
                <a:gd name="T7" fmla="*/ 43 h 135"/>
                <a:gd name="T8" fmla="*/ 138 w 138"/>
                <a:gd name="T9" fmla="*/ 66 h 135"/>
                <a:gd name="T10" fmla="*/ 132 w 138"/>
                <a:gd name="T11" fmla="*/ 92 h 135"/>
                <a:gd name="T12" fmla="*/ 118 w 138"/>
                <a:gd name="T13" fmla="*/ 115 h 135"/>
                <a:gd name="T14" fmla="*/ 95 w 138"/>
                <a:gd name="T15" fmla="*/ 133 h 135"/>
                <a:gd name="T16" fmla="*/ 69 w 138"/>
                <a:gd name="T17" fmla="*/ 135 h 135"/>
                <a:gd name="T18" fmla="*/ 43 w 138"/>
                <a:gd name="T19" fmla="*/ 133 h 135"/>
                <a:gd name="T20" fmla="*/ 20 w 138"/>
                <a:gd name="T21" fmla="*/ 118 h 135"/>
                <a:gd name="T22" fmla="*/ 5 w 138"/>
                <a:gd name="T23" fmla="*/ 95 h 135"/>
                <a:gd name="T24" fmla="*/ 0 w 138"/>
                <a:gd name="T25" fmla="*/ 69 h 135"/>
                <a:gd name="T26" fmla="*/ 5 w 138"/>
                <a:gd name="T27" fmla="*/ 43 h 135"/>
                <a:gd name="T28" fmla="*/ 20 w 138"/>
                <a:gd name="T29" fmla="*/ 20 h 135"/>
                <a:gd name="T30" fmla="*/ 43 w 138"/>
                <a:gd name="T31" fmla="*/ 6 h 135"/>
                <a:gd name="T32" fmla="*/ 66 w 138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5">
                  <a:moveTo>
                    <a:pt x="66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2" y="43"/>
                  </a:lnTo>
                  <a:lnTo>
                    <a:pt x="138" y="66"/>
                  </a:lnTo>
                  <a:lnTo>
                    <a:pt x="132" y="92"/>
                  </a:lnTo>
                  <a:lnTo>
                    <a:pt x="118" y="115"/>
                  </a:lnTo>
                  <a:lnTo>
                    <a:pt x="95" y="133"/>
                  </a:lnTo>
                  <a:lnTo>
                    <a:pt x="69" y="135"/>
                  </a:lnTo>
                  <a:lnTo>
                    <a:pt x="43" y="133"/>
                  </a:lnTo>
                  <a:lnTo>
                    <a:pt x="20" y="118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6" name="Freeform 164">
              <a:extLst>
                <a:ext uri="{FF2B5EF4-FFF2-40B4-BE49-F238E27FC236}">
                  <a16:creationId xmlns:a16="http://schemas.microsoft.com/office/drawing/2014/main" id="{0974A8E2-0084-46A1-86D2-4BFB899FC30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610668" y="652972"/>
              <a:ext cx="108008" cy="108808"/>
            </a:xfrm>
            <a:custGeom>
              <a:avLst/>
              <a:gdLst>
                <a:gd name="T0" fmla="*/ 69 w 135"/>
                <a:gd name="T1" fmla="*/ 0 h 136"/>
                <a:gd name="T2" fmla="*/ 95 w 135"/>
                <a:gd name="T3" fmla="*/ 6 h 136"/>
                <a:gd name="T4" fmla="*/ 118 w 135"/>
                <a:gd name="T5" fmla="*/ 20 h 136"/>
                <a:gd name="T6" fmla="*/ 133 w 135"/>
                <a:gd name="T7" fmla="*/ 41 h 136"/>
                <a:gd name="T8" fmla="*/ 135 w 135"/>
                <a:gd name="T9" fmla="*/ 66 h 136"/>
                <a:gd name="T10" fmla="*/ 133 w 135"/>
                <a:gd name="T11" fmla="*/ 92 h 136"/>
                <a:gd name="T12" fmla="*/ 115 w 135"/>
                <a:gd name="T13" fmla="*/ 115 h 136"/>
                <a:gd name="T14" fmla="*/ 95 w 135"/>
                <a:gd name="T15" fmla="*/ 130 h 136"/>
                <a:gd name="T16" fmla="*/ 69 w 135"/>
                <a:gd name="T17" fmla="*/ 136 h 136"/>
                <a:gd name="T18" fmla="*/ 43 w 135"/>
                <a:gd name="T19" fmla="*/ 130 h 136"/>
                <a:gd name="T20" fmla="*/ 20 w 135"/>
                <a:gd name="T21" fmla="*/ 115 h 136"/>
                <a:gd name="T22" fmla="*/ 6 w 135"/>
                <a:gd name="T23" fmla="*/ 95 h 136"/>
                <a:gd name="T24" fmla="*/ 0 w 135"/>
                <a:gd name="T25" fmla="*/ 69 h 136"/>
                <a:gd name="T26" fmla="*/ 6 w 135"/>
                <a:gd name="T27" fmla="*/ 43 h 136"/>
                <a:gd name="T28" fmla="*/ 20 w 135"/>
                <a:gd name="T29" fmla="*/ 20 h 136"/>
                <a:gd name="T30" fmla="*/ 43 w 135"/>
                <a:gd name="T31" fmla="*/ 6 h 136"/>
                <a:gd name="T32" fmla="*/ 69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9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3" y="41"/>
                  </a:lnTo>
                  <a:lnTo>
                    <a:pt x="135" y="66"/>
                  </a:lnTo>
                  <a:lnTo>
                    <a:pt x="133" y="92"/>
                  </a:lnTo>
                  <a:lnTo>
                    <a:pt x="115" y="115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7" name="Freeform 165">
              <a:extLst>
                <a:ext uri="{FF2B5EF4-FFF2-40B4-BE49-F238E27FC236}">
                  <a16:creationId xmlns:a16="http://schemas.microsoft.com/office/drawing/2014/main" id="{4741C4BF-7B91-48FC-9AFB-8B2BB78C51F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833884" y="639371"/>
              <a:ext cx="108808" cy="108808"/>
            </a:xfrm>
            <a:custGeom>
              <a:avLst/>
              <a:gdLst>
                <a:gd name="T0" fmla="*/ 69 w 136"/>
                <a:gd name="T1" fmla="*/ 0 h 136"/>
                <a:gd name="T2" fmla="*/ 95 w 136"/>
                <a:gd name="T3" fmla="*/ 6 h 136"/>
                <a:gd name="T4" fmla="*/ 119 w 136"/>
                <a:gd name="T5" fmla="*/ 21 h 136"/>
                <a:gd name="T6" fmla="*/ 133 w 136"/>
                <a:gd name="T7" fmla="*/ 44 h 136"/>
                <a:gd name="T8" fmla="*/ 136 w 136"/>
                <a:gd name="T9" fmla="*/ 67 h 136"/>
                <a:gd name="T10" fmla="*/ 133 w 136"/>
                <a:gd name="T11" fmla="*/ 96 h 136"/>
                <a:gd name="T12" fmla="*/ 119 w 136"/>
                <a:gd name="T13" fmla="*/ 116 h 136"/>
                <a:gd name="T14" fmla="*/ 95 w 136"/>
                <a:gd name="T15" fmla="*/ 130 h 136"/>
                <a:gd name="T16" fmla="*/ 69 w 136"/>
                <a:gd name="T17" fmla="*/ 136 h 136"/>
                <a:gd name="T18" fmla="*/ 44 w 136"/>
                <a:gd name="T19" fmla="*/ 133 h 136"/>
                <a:gd name="T20" fmla="*/ 20 w 136"/>
                <a:gd name="T21" fmla="*/ 116 h 136"/>
                <a:gd name="T22" fmla="*/ 6 w 136"/>
                <a:gd name="T23" fmla="*/ 96 h 136"/>
                <a:gd name="T24" fmla="*/ 0 w 136"/>
                <a:gd name="T25" fmla="*/ 70 h 136"/>
                <a:gd name="T26" fmla="*/ 6 w 136"/>
                <a:gd name="T27" fmla="*/ 44 h 136"/>
                <a:gd name="T28" fmla="*/ 20 w 136"/>
                <a:gd name="T29" fmla="*/ 21 h 136"/>
                <a:gd name="T30" fmla="*/ 44 w 136"/>
                <a:gd name="T31" fmla="*/ 6 h 136"/>
                <a:gd name="T32" fmla="*/ 69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9" y="0"/>
                  </a:moveTo>
                  <a:lnTo>
                    <a:pt x="95" y="6"/>
                  </a:lnTo>
                  <a:lnTo>
                    <a:pt x="119" y="21"/>
                  </a:lnTo>
                  <a:lnTo>
                    <a:pt x="133" y="44"/>
                  </a:lnTo>
                  <a:lnTo>
                    <a:pt x="136" y="67"/>
                  </a:lnTo>
                  <a:lnTo>
                    <a:pt x="133" y="96"/>
                  </a:lnTo>
                  <a:lnTo>
                    <a:pt x="119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4" y="133"/>
                  </a:lnTo>
                  <a:lnTo>
                    <a:pt x="20" y="116"/>
                  </a:lnTo>
                  <a:lnTo>
                    <a:pt x="6" y="96"/>
                  </a:lnTo>
                  <a:lnTo>
                    <a:pt x="0" y="70"/>
                  </a:lnTo>
                  <a:lnTo>
                    <a:pt x="6" y="44"/>
                  </a:lnTo>
                  <a:lnTo>
                    <a:pt x="20" y="21"/>
                  </a:lnTo>
                  <a:lnTo>
                    <a:pt x="44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8" name="Freeform 166">
              <a:extLst>
                <a:ext uri="{FF2B5EF4-FFF2-40B4-BE49-F238E27FC236}">
                  <a16:creationId xmlns:a16="http://schemas.microsoft.com/office/drawing/2014/main" id="{7A83AF7A-0F17-4C7F-ADD3-751861D91F5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2057901" y="644171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5 w 135"/>
                <a:gd name="T3" fmla="*/ 5 h 135"/>
                <a:gd name="T4" fmla="*/ 115 w 135"/>
                <a:gd name="T5" fmla="*/ 20 h 135"/>
                <a:gd name="T6" fmla="*/ 132 w 135"/>
                <a:gd name="T7" fmla="*/ 40 h 135"/>
                <a:gd name="T8" fmla="*/ 135 w 135"/>
                <a:gd name="T9" fmla="*/ 66 h 135"/>
                <a:gd name="T10" fmla="*/ 132 w 135"/>
                <a:gd name="T11" fmla="*/ 92 h 135"/>
                <a:gd name="T12" fmla="*/ 118 w 135"/>
                <a:gd name="T13" fmla="*/ 115 h 135"/>
                <a:gd name="T14" fmla="*/ 95 w 135"/>
                <a:gd name="T15" fmla="*/ 129 h 135"/>
                <a:gd name="T16" fmla="*/ 69 w 135"/>
                <a:gd name="T17" fmla="*/ 135 h 135"/>
                <a:gd name="T18" fmla="*/ 43 w 135"/>
                <a:gd name="T19" fmla="*/ 129 h 135"/>
                <a:gd name="T20" fmla="*/ 20 w 135"/>
                <a:gd name="T21" fmla="*/ 115 h 135"/>
                <a:gd name="T22" fmla="*/ 5 w 135"/>
                <a:gd name="T23" fmla="*/ 95 h 135"/>
                <a:gd name="T24" fmla="*/ 0 w 135"/>
                <a:gd name="T25" fmla="*/ 69 h 135"/>
                <a:gd name="T26" fmla="*/ 5 w 135"/>
                <a:gd name="T27" fmla="*/ 43 h 135"/>
                <a:gd name="T28" fmla="*/ 20 w 135"/>
                <a:gd name="T29" fmla="*/ 20 h 135"/>
                <a:gd name="T30" fmla="*/ 43 w 135"/>
                <a:gd name="T31" fmla="*/ 5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5" y="5"/>
                  </a:lnTo>
                  <a:lnTo>
                    <a:pt x="115" y="20"/>
                  </a:lnTo>
                  <a:lnTo>
                    <a:pt x="132" y="40"/>
                  </a:lnTo>
                  <a:lnTo>
                    <a:pt x="135" y="66"/>
                  </a:lnTo>
                  <a:lnTo>
                    <a:pt x="132" y="92"/>
                  </a:lnTo>
                  <a:lnTo>
                    <a:pt x="118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3" y="129"/>
                  </a:lnTo>
                  <a:lnTo>
                    <a:pt x="20" y="115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3"/>
                  </a:lnTo>
                  <a:lnTo>
                    <a:pt x="20" y="20"/>
                  </a:lnTo>
                  <a:lnTo>
                    <a:pt x="43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9" name="Freeform 167">
              <a:extLst>
                <a:ext uri="{FF2B5EF4-FFF2-40B4-BE49-F238E27FC236}">
                  <a16:creationId xmlns:a16="http://schemas.microsoft.com/office/drawing/2014/main" id="{7CD1F342-7620-43F6-807C-4131A4033FD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015425" y="5456522"/>
              <a:ext cx="172813" cy="172813"/>
            </a:xfrm>
            <a:custGeom>
              <a:avLst/>
              <a:gdLst>
                <a:gd name="T0" fmla="*/ 115 w 216"/>
                <a:gd name="T1" fmla="*/ 0 h 216"/>
                <a:gd name="T2" fmla="*/ 150 w 216"/>
                <a:gd name="T3" fmla="*/ 6 h 216"/>
                <a:gd name="T4" fmla="*/ 179 w 216"/>
                <a:gd name="T5" fmla="*/ 26 h 216"/>
                <a:gd name="T6" fmla="*/ 202 w 216"/>
                <a:gd name="T7" fmla="*/ 52 h 216"/>
                <a:gd name="T8" fmla="*/ 213 w 216"/>
                <a:gd name="T9" fmla="*/ 81 h 216"/>
                <a:gd name="T10" fmla="*/ 216 w 216"/>
                <a:gd name="T11" fmla="*/ 115 h 216"/>
                <a:gd name="T12" fmla="*/ 210 w 216"/>
                <a:gd name="T13" fmla="*/ 150 h 216"/>
                <a:gd name="T14" fmla="*/ 190 w 216"/>
                <a:gd name="T15" fmla="*/ 179 h 216"/>
                <a:gd name="T16" fmla="*/ 167 w 216"/>
                <a:gd name="T17" fmla="*/ 202 h 216"/>
                <a:gd name="T18" fmla="*/ 135 w 216"/>
                <a:gd name="T19" fmla="*/ 213 h 216"/>
                <a:gd name="T20" fmla="*/ 101 w 216"/>
                <a:gd name="T21" fmla="*/ 216 h 216"/>
                <a:gd name="T22" fmla="*/ 69 w 216"/>
                <a:gd name="T23" fmla="*/ 210 h 216"/>
                <a:gd name="T24" fmla="*/ 37 w 216"/>
                <a:gd name="T25" fmla="*/ 190 h 216"/>
                <a:gd name="T26" fmla="*/ 14 w 216"/>
                <a:gd name="T27" fmla="*/ 167 h 216"/>
                <a:gd name="T28" fmla="*/ 3 w 216"/>
                <a:gd name="T29" fmla="*/ 135 h 216"/>
                <a:gd name="T30" fmla="*/ 0 w 216"/>
                <a:gd name="T31" fmla="*/ 101 h 216"/>
                <a:gd name="T32" fmla="*/ 6 w 216"/>
                <a:gd name="T33" fmla="*/ 66 h 216"/>
                <a:gd name="T34" fmla="*/ 26 w 216"/>
                <a:gd name="T35" fmla="*/ 37 h 216"/>
                <a:gd name="T36" fmla="*/ 52 w 216"/>
                <a:gd name="T37" fmla="*/ 14 h 216"/>
                <a:gd name="T38" fmla="*/ 81 w 216"/>
                <a:gd name="T39" fmla="*/ 3 h 216"/>
                <a:gd name="T40" fmla="*/ 115 w 216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6">
                  <a:moveTo>
                    <a:pt x="115" y="0"/>
                  </a:moveTo>
                  <a:lnTo>
                    <a:pt x="150" y="6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3" y="81"/>
                  </a:lnTo>
                  <a:lnTo>
                    <a:pt x="216" y="115"/>
                  </a:lnTo>
                  <a:lnTo>
                    <a:pt x="210" y="150"/>
                  </a:lnTo>
                  <a:lnTo>
                    <a:pt x="190" y="179"/>
                  </a:lnTo>
                  <a:lnTo>
                    <a:pt x="167" y="202"/>
                  </a:lnTo>
                  <a:lnTo>
                    <a:pt x="135" y="213"/>
                  </a:lnTo>
                  <a:lnTo>
                    <a:pt x="101" y="216"/>
                  </a:lnTo>
                  <a:lnTo>
                    <a:pt x="69" y="210"/>
                  </a:lnTo>
                  <a:lnTo>
                    <a:pt x="37" y="190"/>
                  </a:lnTo>
                  <a:lnTo>
                    <a:pt x="14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6" y="66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0" name="Freeform 168">
              <a:extLst>
                <a:ext uri="{FF2B5EF4-FFF2-40B4-BE49-F238E27FC236}">
                  <a16:creationId xmlns:a16="http://schemas.microsoft.com/office/drawing/2014/main" id="{938D7A6A-BAAF-400A-9BAC-B5B18F54919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805010" y="5370915"/>
              <a:ext cx="176013" cy="175213"/>
            </a:xfrm>
            <a:custGeom>
              <a:avLst/>
              <a:gdLst>
                <a:gd name="T0" fmla="*/ 116 w 220"/>
                <a:gd name="T1" fmla="*/ 0 h 219"/>
                <a:gd name="T2" fmla="*/ 150 w 220"/>
                <a:gd name="T3" fmla="*/ 8 h 219"/>
                <a:gd name="T4" fmla="*/ 179 w 220"/>
                <a:gd name="T5" fmla="*/ 26 h 219"/>
                <a:gd name="T6" fmla="*/ 202 w 220"/>
                <a:gd name="T7" fmla="*/ 52 h 219"/>
                <a:gd name="T8" fmla="*/ 214 w 220"/>
                <a:gd name="T9" fmla="*/ 83 h 219"/>
                <a:gd name="T10" fmla="*/ 220 w 220"/>
                <a:gd name="T11" fmla="*/ 118 h 219"/>
                <a:gd name="T12" fmla="*/ 211 w 220"/>
                <a:gd name="T13" fmla="*/ 150 h 219"/>
                <a:gd name="T14" fmla="*/ 191 w 220"/>
                <a:gd name="T15" fmla="*/ 181 h 219"/>
                <a:gd name="T16" fmla="*/ 168 w 220"/>
                <a:gd name="T17" fmla="*/ 202 h 219"/>
                <a:gd name="T18" fmla="*/ 136 w 220"/>
                <a:gd name="T19" fmla="*/ 216 h 219"/>
                <a:gd name="T20" fmla="*/ 101 w 220"/>
                <a:gd name="T21" fmla="*/ 219 h 219"/>
                <a:gd name="T22" fmla="*/ 67 w 220"/>
                <a:gd name="T23" fmla="*/ 210 h 219"/>
                <a:gd name="T24" fmla="*/ 38 w 220"/>
                <a:gd name="T25" fmla="*/ 193 h 219"/>
                <a:gd name="T26" fmla="*/ 15 w 220"/>
                <a:gd name="T27" fmla="*/ 167 h 219"/>
                <a:gd name="T28" fmla="*/ 3 w 220"/>
                <a:gd name="T29" fmla="*/ 135 h 219"/>
                <a:gd name="T30" fmla="*/ 0 w 220"/>
                <a:gd name="T31" fmla="*/ 104 h 219"/>
                <a:gd name="T32" fmla="*/ 9 w 220"/>
                <a:gd name="T33" fmla="*/ 69 h 219"/>
                <a:gd name="T34" fmla="*/ 26 w 220"/>
                <a:gd name="T35" fmla="*/ 40 h 219"/>
                <a:gd name="T36" fmla="*/ 52 w 220"/>
                <a:gd name="T37" fmla="*/ 17 h 219"/>
                <a:gd name="T38" fmla="*/ 81 w 220"/>
                <a:gd name="T39" fmla="*/ 3 h 219"/>
                <a:gd name="T40" fmla="*/ 116 w 220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0" h="219">
                  <a:moveTo>
                    <a:pt x="116" y="0"/>
                  </a:moveTo>
                  <a:lnTo>
                    <a:pt x="150" y="8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4" y="83"/>
                  </a:lnTo>
                  <a:lnTo>
                    <a:pt x="220" y="118"/>
                  </a:lnTo>
                  <a:lnTo>
                    <a:pt x="211" y="150"/>
                  </a:lnTo>
                  <a:lnTo>
                    <a:pt x="191" y="181"/>
                  </a:lnTo>
                  <a:lnTo>
                    <a:pt x="168" y="202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7" y="210"/>
                  </a:lnTo>
                  <a:lnTo>
                    <a:pt x="38" y="193"/>
                  </a:lnTo>
                  <a:lnTo>
                    <a:pt x="15" y="167"/>
                  </a:lnTo>
                  <a:lnTo>
                    <a:pt x="3" y="135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1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1" name="Freeform 169">
              <a:extLst>
                <a:ext uri="{FF2B5EF4-FFF2-40B4-BE49-F238E27FC236}">
                  <a16:creationId xmlns:a16="http://schemas.microsoft.com/office/drawing/2014/main" id="{370FFE8A-056E-44F8-B8F3-B2CF44338BD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108959" y="4894081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5 w 135"/>
                <a:gd name="T3" fmla="*/ 6 h 135"/>
                <a:gd name="T4" fmla="*/ 115 w 135"/>
                <a:gd name="T5" fmla="*/ 20 h 135"/>
                <a:gd name="T6" fmla="*/ 132 w 135"/>
                <a:gd name="T7" fmla="*/ 40 h 135"/>
                <a:gd name="T8" fmla="*/ 135 w 135"/>
                <a:gd name="T9" fmla="*/ 66 h 135"/>
                <a:gd name="T10" fmla="*/ 129 w 135"/>
                <a:gd name="T11" fmla="*/ 92 h 135"/>
                <a:gd name="T12" fmla="*/ 115 w 135"/>
                <a:gd name="T13" fmla="*/ 115 h 135"/>
                <a:gd name="T14" fmla="*/ 95 w 135"/>
                <a:gd name="T15" fmla="*/ 130 h 135"/>
                <a:gd name="T16" fmla="*/ 69 w 135"/>
                <a:gd name="T17" fmla="*/ 135 h 135"/>
                <a:gd name="T18" fmla="*/ 43 w 135"/>
                <a:gd name="T19" fmla="*/ 130 h 135"/>
                <a:gd name="T20" fmla="*/ 20 w 135"/>
                <a:gd name="T21" fmla="*/ 115 h 135"/>
                <a:gd name="T22" fmla="*/ 5 w 135"/>
                <a:gd name="T23" fmla="*/ 95 h 135"/>
                <a:gd name="T24" fmla="*/ 0 w 135"/>
                <a:gd name="T25" fmla="*/ 69 h 135"/>
                <a:gd name="T26" fmla="*/ 5 w 135"/>
                <a:gd name="T27" fmla="*/ 40 h 135"/>
                <a:gd name="T28" fmla="*/ 20 w 135"/>
                <a:gd name="T29" fmla="*/ 20 h 135"/>
                <a:gd name="T30" fmla="*/ 43 w 135"/>
                <a:gd name="T31" fmla="*/ 6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5" y="6"/>
                  </a:lnTo>
                  <a:lnTo>
                    <a:pt x="115" y="20"/>
                  </a:lnTo>
                  <a:lnTo>
                    <a:pt x="132" y="40"/>
                  </a:lnTo>
                  <a:lnTo>
                    <a:pt x="135" y="66"/>
                  </a:lnTo>
                  <a:lnTo>
                    <a:pt x="129" y="92"/>
                  </a:lnTo>
                  <a:lnTo>
                    <a:pt x="115" y="115"/>
                  </a:lnTo>
                  <a:lnTo>
                    <a:pt x="95" y="130"/>
                  </a:lnTo>
                  <a:lnTo>
                    <a:pt x="69" y="135"/>
                  </a:lnTo>
                  <a:lnTo>
                    <a:pt x="43" y="130"/>
                  </a:lnTo>
                  <a:lnTo>
                    <a:pt x="20" y="115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0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2" name="Freeform 170">
              <a:extLst>
                <a:ext uri="{FF2B5EF4-FFF2-40B4-BE49-F238E27FC236}">
                  <a16:creationId xmlns:a16="http://schemas.microsoft.com/office/drawing/2014/main" id="{27AA2BD3-EF2D-4B21-80AE-A5C7F9406C1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956948" y="4727669"/>
              <a:ext cx="110408" cy="108808"/>
            </a:xfrm>
            <a:custGeom>
              <a:avLst/>
              <a:gdLst>
                <a:gd name="T0" fmla="*/ 69 w 138"/>
                <a:gd name="T1" fmla="*/ 0 h 136"/>
                <a:gd name="T2" fmla="*/ 95 w 138"/>
                <a:gd name="T3" fmla="*/ 3 h 136"/>
                <a:gd name="T4" fmla="*/ 118 w 138"/>
                <a:gd name="T5" fmla="*/ 21 h 136"/>
                <a:gd name="T6" fmla="*/ 133 w 138"/>
                <a:gd name="T7" fmla="*/ 41 h 136"/>
                <a:gd name="T8" fmla="*/ 138 w 138"/>
                <a:gd name="T9" fmla="*/ 67 h 136"/>
                <a:gd name="T10" fmla="*/ 133 w 138"/>
                <a:gd name="T11" fmla="*/ 93 h 136"/>
                <a:gd name="T12" fmla="*/ 118 w 138"/>
                <a:gd name="T13" fmla="*/ 116 h 136"/>
                <a:gd name="T14" fmla="*/ 95 w 138"/>
                <a:gd name="T15" fmla="*/ 130 h 136"/>
                <a:gd name="T16" fmla="*/ 69 w 138"/>
                <a:gd name="T17" fmla="*/ 136 h 136"/>
                <a:gd name="T18" fmla="*/ 43 w 138"/>
                <a:gd name="T19" fmla="*/ 130 h 136"/>
                <a:gd name="T20" fmla="*/ 20 w 138"/>
                <a:gd name="T21" fmla="*/ 116 h 136"/>
                <a:gd name="T22" fmla="*/ 6 w 138"/>
                <a:gd name="T23" fmla="*/ 96 h 136"/>
                <a:gd name="T24" fmla="*/ 0 w 138"/>
                <a:gd name="T25" fmla="*/ 70 h 136"/>
                <a:gd name="T26" fmla="*/ 6 w 138"/>
                <a:gd name="T27" fmla="*/ 44 h 136"/>
                <a:gd name="T28" fmla="*/ 20 w 138"/>
                <a:gd name="T29" fmla="*/ 21 h 136"/>
                <a:gd name="T30" fmla="*/ 43 w 138"/>
                <a:gd name="T31" fmla="*/ 6 h 136"/>
                <a:gd name="T32" fmla="*/ 69 w 138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6">
                  <a:moveTo>
                    <a:pt x="69" y="0"/>
                  </a:moveTo>
                  <a:lnTo>
                    <a:pt x="95" y="3"/>
                  </a:lnTo>
                  <a:lnTo>
                    <a:pt x="118" y="21"/>
                  </a:lnTo>
                  <a:lnTo>
                    <a:pt x="133" y="41"/>
                  </a:lnTo>
                  <a:lnTo>
                    <a:pt x="138" y="67"/>
                  </a:lnTo>
                  <a:lnTo>
                    <a:pt x="133" y="93"/>
                  </a:lnTo>
                  <a:lnTo>
                    <a:pt x="118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6"/>
                  </a:lnTo>
                  <a:lnTo>
                    <a:pt x="6" y="96"/>
                  </a:lnTo>
                  <a:lnTo>
                    <a:pt x="0" y="70"/>
                  </a:lnTo>
                  <a:lnTo>
                    <a:pt x="6" y="44"/>
                  </a:lnTo>
                  <a:lnTo>
                    <a:pt x="20" y="21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3" name="Freeform 171">
              <a:extLst>
                <a:ext uri="{FF2B5EF4-FFF2-40B4-BE49-F238E27FC236}">
                  <a16:creationId xmlns:a16="http://schemas.microsoft.com/office/drawing/2014/main" id="{435640B9-5374-494C-81DB-796B6974F17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822538" y="4550056"/>
              <a:ext cx="108808" cy="108808"/>
            </a:xfrm>
            <a:custGeom>
              <a:avLst/>
              <a:gdLst>
                <a:gd name="T0" fmla="*/ 66 w 136"/>
                <a:gd name="T1" fmla="*/ 0 h 136"/>
                <a:gd name="T2" fmla="*/ 92 w 136"/>
                <a:gd name="T3" fmla="*/ 6 h 136"/>
                <a:gd name="T4" fmla="*/ 115 w 136"/>
                <a:gd name="T5" fmla="*/ 21 h 136"/>
                <a:gd name="T6" fmla="*/ 130 w 136"/>
                <a:gd name="T7" fmla="*/ 44 h 136"/>
                <a:gd name="T8" fmla="*/ 136 w 136"/>
                <a:gd name="T9" fmla="*/ 70 h 136"/>
                <a:gd name="T10" fmla="*/ 133 w 136"/>
                <a:gd name="T11" fmla="*/ 95 h 136"/>
                <a:gd name="T12" fmla="*/ 115 w 136"/>
                <a:gd name="T13" fmla="*/ 119 h 136"/>
                <a:gd name="T14" fmla="*/ 95 w 136"/>
                <a:gd name="T15" fmla="*/ 133 h 136"/>
                <a:gd name="T16" fmla="*/ 69 w 136"/>
                <a:gd name="T17" fmla="*/ 136 h 136"/>
                <a:gd name="T18" fmla="*/ 43 w 136"/>
                <a:gd name="T19" fmla="*/ 133 h 136"/>
                <a:gd name="T20" fmla="*/ 20 w 136"/>
                <a:gd name="T21" fmla="*/ 119 h 136"/>
                <a:gd name="T22" fmla="*/ 6 w 136"/>
                <a:gd name="T23" fmla="*/ 95 h 136"/>
                <a:gd name="T24" fmla="*/ 0 w 136"/>
                <a:gd name="T25" fmla="*/ 70 h 136"/>
                <a:gd name="T26" fmla="*/ 6 w 136"/>
                <a:gd name="T27" fmla="*/ 44 h 136"/>
                <a:gd name="T28" fmla="*/ 20 w 136"/>
                <a:gd name="T29" fmla="*/ 21 h 136"/>
                <a:gd name="T30" fmla="*/ 40 w 136"/>
                <a:gd name="T31" fmla="*/ 6 h 136"/>
                <a:gd name="T32" fmla="*/ 66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6" y="0"/>
                  </a:moveTo>
                  <a:lnTo>
                    <a:pt x="92" y="6"/>
                  </a:lnTo>
                  <a:lnTo>
                    <a:pt x="115" y="21"/>
                  </a:lnTo>
                  <a:lnTo>
                    <a:pt x="130" y="44"/>
                  </a:lnTo>
                  <a:lnTo>
                    <a:pt x="136" y="70"/>
                  </a:lnTo>
                  <a:lnTo>
                    <a:pt x="133" y="95"/>
                  </a:lnTo>
                  <a:lnTo>
                    <a:pt x="115" y="119"/>
                  </a:lnTo>
                  <a:lnTo>
                    <a:pt x="95" y="133"/>
                  </a:lnTo>
                  <a:lnTo>
                    <a:pt x="69" y="136"/>
                  </a:lnTo>
                  <a:lnTo>
                    <a:pt x="43" y="133"/>
                  </a:lnTo>
                  <a:lnTo>
                    <a:pt x="20" y="119"/>
                  </a:lnTo>
                  <a:lnTo>
                    <a:pt x="6" y="95"/>
                  </a:lnTo>
                  <a:lnTo>
                    <a:pt x="0" y="70"/>
                  </a:lnTo>
                  <a:lnTo>
                    <a:pt x="6" y="44"/>
                  </a:lnTo>
                  <a:lnTo>
                    <a:pt x="20" y="21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4" name="Freeform 172">
              <a:extLst>
                <a:ext uri="{FF2B5EF4-FFF2-40B4-BE49-F238E27FC236}">
                  <a16:creationId xmlns:a16="http://schemas.microsoft.com/office/drawing/2014/main" id="{40CF4B33-1FF0-40BB-A80C-F7EED4E2EB8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604122" y="4158027"/>
              <a:ext cx="108008" cy="111208"/>
            </a:xfrm>
            <a:custGeom>
              <a:avLst/>
              <a:gdLst>
                <a:gd name="T0" fmla="*/ 69 w 135"/>
                <a:gd name="T1" fmla="*/ 0 h 139"/>
                <a:gd name="T2" fmla="*/ 95 w 135"/>
                <a:gd name="T3" fmla="*/ 6 h 139"/>
                <a:gd name="T4" fmla="*/ 118 w 135"/>
                <a:gd name="T5" fmla="*/ 21 h 139"/>
                <a:gd name="T6" fmla="*/ 133 w 135"/>
                <a:gd name="T7" fmla="*/ 44 h 139"/>
                <a:gd name="T8" fmla="*/ 135 w 135"/>
                <a:gd name="T9" fmla="*/ 70 h 139"/>
                <a:gd name="T10" fmla="*/ 133 w 135"/>
                <a:gd name="T11" fmla="*/ 96 h 139"/>
                <a:gd name="T12" fmla="*/ 118 w 135"/>
                <a:gd name="T13" fmla="*/ 119 h 139"/>
                <a:gd name="T14" fmla="*/ 95 w 135"/>
                <a:gd name="T15" fmla="*/ 133 h 139"/>
                <a:gd name="T16" fmla="*/ 69 w 135"/>
                <a:gd name="T17" fmla="*/ 139 h 139"/>
                <a:gd name="T18" fmla="*/ 43 w 135"/>
                <a:gd name="T19" fmla="*/ 133 h 139"/>
                <a:gd name="T20" fmla="*/ 20 w 135"/>
                <a:gd name="T21" fmla="*/ 119 h 139"/>
                <a:gd name="T22" fmla="*/ 6 w 135"/>
                <a:gd name="T23" fmla="*/ 96 h 139"/>
                <a:gd name="T24" fmla="*/ 0 w 135"/>
                <a:gd name="T25" fmla="*/ 70 h 139"/>
                <a:gd name="T26" fmla="*/ 6 w 135"/>
                <a:gd name="T27" fmla="*/ 44 h 139"/>
                <a:gd name="T28" fmla="*/ 20 w 135"/>
                <a:gd name="T29" fmla="*/ 21 h 139"/>
                <a:gd name="T30" fmla="*/ 43 w 135"/>
                <a:gd name="T31" fmla="*/ 6 h 139"/>
                <a:gd name="T32" fmla="*/ 69 w 135"/>
                <a:gd name="T33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9">
                  <a:moveTo>
                    <a:pt x="69" y="0"/>
                  </a:moveTo>
                  <a:lnTo>
                    <a:pt x="95" y="6"/>
                  </a:lnTo>
                  <a:lnTo>
                    <a:pt x="118" y="21"/>
                  </a:lnTo>
                  <a:lnTo>
                    <a:pt x="133" y="44"/>
                  </a:lnTo>
                  <a:lnTo>
                    <a:pt x="135" y="70"/>
                  </a:lnTo>
                  <a:lnTo>
                    <a:pt x="133" y="96"/>
                  </a:lnTo>
                  <a:lnTo>
                    <a:pt x="118" y="119"/>
                  </a:lnTo>
                  <a:lnTo>
                    <a:pt x="95" y="133"/>
                  </a:lnTo>
                  <a:lnTo>
                    <a:pt x="69" y="139"/>
                  </a:lnTo>
                  <a:lnTo>
                    <a:pt x="43" y="133"/>
                  </a:lnTo>
                  <a:lnTo>
                    <a:pt x="20" y="119"/>
                  </a:lnTo>
                  <a:lnTo>
                    <a:pt x="6" y="96"/>
                  </a:lnTo>
                  <a:lnTo>
                    <a:pt x="0" y="70"/>
                  </a:lnTo>
                  <a:lnTo>
                    <a:pt x="6" y="44"/>
                  </a:lnTo>
                  <a:lnTo>
                    <a:pt x="20" y="21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5" name="Freeform 173">
              <a:extLst>
                <a:ext uri="{FF2B5EF4-FFF2-40B4-BE49-F238E27FC236}">
                  <a16:creationId xmlns:a16="http://schemas.microsoft.com/office/drawing/2014/main" id="{59973D5C-5BB0-47DC-A01D-0198256C9EC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412108" y="3517181"/>
              <a:ext cx="108808" cy="108008"/>
            </a:xfrm>
            <a:custGeom>
              <a:avLst/>
              <a:gdLst>
                <a:gd name="T0" fmla="*/ 67 w 136"/>
                <a:gd name="T1" fmla="*/ 0 h 135"/>
                <a:gd name="T2" fmla="*/ 93 w 136"/>
                <a:gd name="T3" fmla="*/ 5 h 135"/>
                <a:gd name="T4" fmla="*/ 116 w 136"/>
                <a:gd name="T5" fmla="*/ 20 h 135"/>
                <a:gd name="T6" fmla="*/ 130 w 136"/>
                <a:gd name="T7" fmla="*/ 43 h 135"/>
                <a:gd name="T8" fmla="*/ 136 w 136"/>
                <a:gd name="T9" fmla="*/ 66 h 135"/>
                <a:gd name="T10" fmla="*/ 130 w 136"/>
                <a:gd name="T11" fmla="*/ 95 h 135"/>
                <a:gd name="T12" fmla="*/ 116 w 136"/>
                <a:gd name="T13" fmla="*/ 115 h 135"/>
                <a:gd name="T14" fmla="*/ 95 w 136"/>
                <a:gd name="T15" fmla="*/ 132 h 135"/>
                <a:gd name="T16" fmla="*/ 69 w 136"/>
                <a:gd name="T17" fmla="*/ 135 h 135"/>
                <a:gd name="T18" fmla="*/ 44 w 136"/>
                <a:gd name="T19" fmla="*/ 132 h 135"/>
                <a:gd name="T20" fmla="*/ 20 w 136"/>
                <a:gd name="T21" fmla="*/ 115 h 135"/>
                <a:gd name="T22" fmla="*/ 6 w 136"/>
                <a:gd name="T23" fmla="*/ 95 h 135"/>
                <a:gd name="T24" fmla="*/ 0 w 136"/>
                <a:gd name="T25" fmla="*/ 69 h 135"/>
                <a:gd name="T26" fmla="*/ 6 w 136"/>
                <a:gd name="T27" fmla="*/ 43 h 135"/>
                <a:gd name="T28" fmla="*/ 20 w 136"/>
                <a:gd name="T29" fmla="*/ 20 h 135"/>
                <a:gd name="T30" fmla="*/ 41 w 136"/>
                <a:gd name="T31" fmla="*/ 5 h 135"/>
                <a:gd name="T32" fmla="*/ 67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7" y="0"/>
                  </a:moveTo>
                  <a:lnTo>
                    <a:pt x="93" y="5"/>
                  </a:lnTo>
                  <a:lnTo>
                    <a:pt x="116" y="20"/>
                  </a:lnTo>
                  <a:lnTo>
                    <a:pt x="130" y="43"/>
                  </a:lnTo>
                  <a:lnTo>
                    <a:pt x="136" y="66"/>
                  </a:lnTo>
                  <a:lnTo>
                    <a:pt x="130" y="95"/>
                  </a:lnTo>
                  <a:lnTo>
                    <a:pt x="116" y="115"/>
                  </a:lnTo>
                  <a:lnTo>
                    <a:pt x="95" y="132"/>
                  </a:lnTo>
                  <a:lnTo>
                    <a:pt x="69" y="135"/>
                  </a:lnTo>
                  <a:lnTo>
                    <a:pt x="44" y="132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1" y="5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6" name="Freeform 174">
              <a:extLst>
                <a:ext uri="{FF2B5EF4-FFF2-40B4-BE49-F238E27FC236}">
                  <a16:creationId xmlns:a16="http://schemas.microsoft.com/office/drawing/2014/main" id="{D4F35577-B6E3-411E-A797-8E9062A04CA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387306" y="3293164"/>
              <a:ext cx="108008" cy="108808"/>
            </a:xfrm>
            <a:custGeom>
              <a:avLst/>
              <a:gdLst>
                <a:gd name="T0" fmla="*/ 66 w 135"/>
                <a:gd name="T1" fmla="*/ 0 h 136"/>
                <a:gd name="T2" fmla="*/ 92 w 135"/>
                <a:gd name="T3" fmla="*/ 3 h 136"/>
                <a:gd name="T4" fmla="*/ 115 w 135"/>
                <a:gd name="T5" fmla="*/ 20 h 136"/>
                <a:gd name="T6" fmla="*/ 130 w 135"/>
                <a:gd name="T7" fmla="*/ 40 h 136"/>
                <a:gd name="T8" fmla="*/ 135 w 135"/>
                <a:gd name="T9" fmla="*/ 66 h 136"/>
                <a:gd name="T10" fmla="*/ 130 w 135"/>
                <a:gd name="T11" fmla="*/ 92 h 136"/>
                <a:gd name="T12" fmla="*/ 115 w 135"/>
                <a:gd name="T13" fmla="*/ 115 h 136"/>
                <a:gd name="T14" fmla="*/ 92 w 135"/>
                <a:gd name="T15" fmla="*/ 130 h 136"/>
                <a:gd name="T16" fmla="*/ 66 w 135"/>
                <a:gd name="T17" fmla="*/ 136 h 136"/>
                <a:gd name="T18" fmla="*/ 40 w 135"/>
                <a:gd name="T19" fmla="*/ 130 h 136"/>
                <a:gd name="T20" fmla="*/ 17 w 135"/>
                <a:gd name="T21" fmla="*/ 115 h 136"/>
                <a:gd name="T22" fmla="*/ 3 w 135"/>
                <a:gd name="T23" fmla="*/ 95 h 136"/>
                <a:gd name="T24" fmla="*/ 0 w 135"/>
                <a:gd name="T25" fmla="*/ 69 h 136"/>
                <a:gd name="T26" fmla="*/ 3 w 135"/>
                <a:gd name="T27" fmla="*/ 40 h 136"/>
                <a:gd name="T28" fmla="*/ 17 w 135"/>
                <a:gd name="T29" fmla="*/ 20 h 136"/>
                <a:gd name="T30" fmla="*/ 40 w 135"/>
                <a:gd name="T31" fmla="*/ 6 h 136"/>
                <a:gd name="T32" fmla="*/ 66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6" y="0"/>
                  </a:moveTo>
                  <a:lnTo>
                    <a:pt x="92" y="3"/>
                  </a:lnTo>
                  <a:lnTo>
                    <a:pt x="115" y="20"/>
                  </a:lnTo>
                  <a:lnTo>
                    <a:pt x="130" y="40"/>
                  </a:lnTo>
                  <a:lnTo>
                    <a:pt x="135" y="66"/>
                  </a:lnTo>
                  <a:lnTo>
                    <a:pt x="130" y="92"/>
                  </a:lnTo>
                  <a:lnTo>
                    <a:pt x="115" y="115"/>
                  </a:lnTo>
                  <a:lnTo>
                    <a:pt x="92" y="130"/>
                  </a:lnTo>
                  <a:lnTo>
                    <a:pt x="66" y="136"/>
                  </a:lnTo>
                  <a:lnTo>
                    <a:pt x="40" y="130"/>
                  </a:lnTo>
                  <a:lnTo>
                    <a:pt x="17" y="115"/>
                  </a:lnTo>
                  <a:lnTo>
                    <a:pt x="3" y="95"/>
                  </a:lnTo>
                  <a:lnTo>
                    <a:pt x="0" y="69"/>
                  </a:lnTo>
                  <a:lnTo>
                    <a:pt x="3" y="40"/>
                  </a:lnTo>
                  <a:lnTo>
                    <a:pt x="17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7" name="Freeform 175">
              <a:extLst>
                <a:ext uri="{FF2B5EF4-FFF2-40B4-BE49-F238E27FC236}">
                  <a16:creationId xmlns:a16="http://schemas.microsoft.com/office/drawing/2014/main" id="{0B811584-E8A3-45BE-9364-1C557618287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398507" y="2845932"/>
              <a:ext cx="110408" cy="108808"/>
            </a:xfrm>
            <a:custGeom>
              <a:avLst/>
              <a:gdLst>
                <a:gd name="T0" fmla="*/ 69 w 138"/>
                <a:gd name="T1" fmla="*/ 0 h 136"/>
                <a:gd name="T2" fmla="*/ 95 w 138"/>
                <a:gd name="T3" fmla="*/ 6 h 136"/>
                <a:gd name="T4" fmla="*/ 118 w 138"/>
                <a:gd name="T5" fmla="*/ 20 h 136"/>
                <a:gd name="T6" fmla="*/ 132 w 138"/>
                <a:gd name="T7" fmla="*/ 41 h 136"/>
                <a:gd name="T8" fmla="*/ 138 w 138"/>
                <a:gd name="T9" fmla="*/ 67 h 136"/>
                <a:gd name="T10" fmla="*/ 132 w 138"/>
                <a:gd name="T11" fmla="*/ 92 h 136"/>
                <a:gd name="T12" fmla="*/ 118 w 138"/>
                <a:gd name="T13" fmla="*/ 116 h 136"/>
                <a:gd name="T14" fmla="*/ 95 w 138"/>
                <a:gd name="T15" fmla="*/ 130 h 136"/>
                <a:gd name="T16" fmla="*/ 69 w 138"/>
                <a:gd name="T17" fmla="*/ 136 h 136"/>
                <a:gd name="T18" fmla="*/ 43 w 138"/>
                <a:gd name="T19" fmla="*/ 130 h 136"/>
                <a:gd name="T20" fmla="*/ 20 w 138"/>
                <a:gd name="T21" fmla="*/ 116 h 136"/>
                <a:gd name="T22" fmla="*/ 5 w 138"/>
                <a:gd name="T23" fmla="*/ 95 h 136"/>
                <a:gd name="T24" fmla="*/ 0 w 138"/>
                <a:gd name="T25" fmla="*/ 69 h 136"/>
                <a:gd name="T26" fmla="*/ 5 w 138"/>
                <a:gd name="T27" fmla="*/ 43 h 136"/>
                <a:gd name="T28" fmla="*/ 20 w 138"/>
                <a:gd name="T29" fmla="*/ 20 h 136"/>
                <a:gd name="T30" fmla="*/ 43 w 138"/>
                <a:gd name="T31" fmla="*/ 6 h 136"/>
                <a:gd name="T32" fmla="*/ 69 w 138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6">
                  <a:moveTo>
                    <a:pt x="69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2" y="41"/>
                  </a:lnTo>
                  <a:lnTo>
                    <a:pt x="138" y="67"/>
                  </a:lnTo>
                  <a:lnTo>
                    <a:pt x="132" y="92"/>
                  </a:lnTo>
                  <a:lnTo>
                    <a:pt x="118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6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8" name="Freeform 176">
              <a:extLst>
                <a:ext uri="{FF2B5EF4-FFF2-40B4-BE49-F238E27FC236}">
                  <a16:creationId xmlns:a16="http://schemas.microsoft.com/office/drawing/2014/main" id="{F4D48E0C-6AFC-47E9-8818-B7BCB40D941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435310" y="2625115"/>
              <a:ext cx="108808" cy="108008"/>
            </a:xfrm>
            <a:custGeom>
              <a:avLst/>
              <a:gdLst>
                <a:gd name="T0" fmla="*/ 67 w 136"/>
                <a:gd name="T1" fmla="*/ 0 h 135"/>
                <a:gd name="T2" fmla="*/ 96 w 136"/>
                <a:gd name="T3" fmla="*/ 3 h 135"/>
                <a:gd name="T4" fmla="*/ 116 w 136"/>
                <a:gd name="T5" fmla="*/ 20 h 135"/>
                <a:gd name="T6" fmla="*/ 130 w 136"/>
                <a:gd name="T7" fmla="*/ 40 h 135"/>
                <a:gd name="T8" fmla="*/ 136 w 136"/>
                <a:gd name="T9" fmla="*/ 66 h 135"/>
                <a:gd name="T10" fmla="*/ 130 w 136"/>
                <a:gd name="T11" fmla="*/ 92 h 135"/>
                <a:gd name="T12" fmla="*/ 116 w 136"/>
                <a:gd name="T13" fmla="*/ 115 h 135"/>
                <a:gd name="T14" fmla="*/ 96 w 136"/>
                <a:gd name="T15" fmla="*/ 130 h 135"/>
                <a:gd name="T16" fmla="*/ 70 w 136"/>
                <a:gd name="T17" fmla="*/ 135 h 135"/>
                <a:gd name="T18" fmla="*/ 44 w 136"/>
                <a:gd name="T19" fmla="*/ 130 h 135"/>
                <a:gd name="T20" fmla="*/ 21 w 136"/>
                <a:gd name="T21" fmla="*/ 115 h 135"/>
                <a:gd name="T22" fmla="*/ 6 w 136"/>
                <a:gd name="T23" fmla="*/ 95 h 135"/>
                <a:gd name="T24" fmla="*/ 0 w 136"/>
                <a:gd name="T25" fmla="*/ 69 h 135"/>
                <a:gd name="T26" fmla="*/ 6 w 136"/>
                <a:gd name="T27" fmla="*/ 43 h 135"/>
                <a:gd name="T28" fmla="*/ 21 w 136"/>
                <a:gd name="T29" fmla="*/ 20 h 135"/>
                <a:gd name="T30" fmla="*/ 41 w 136"/>
                <a:gd name="T31" fmla="*/ 6 h 135"/>
                <a:gd name="T32" fmla="*/ 67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7" y="0"/>
                  </a:moveTo>
                  <a:lnTo>
                    <a:pt x="96" y="3"/>
                  </a:lnTo>
                  <a:lnTo>
                    <a:pt x="116" y="20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0" y="92"/>
                  </a:lnTo>
                  <a:lnTo>
                    <a:pt x="116" y="115"/>
                  </a:lnTo>
                  <a:lnTo>
                    <a:pt x="96" y="130"/>
                  </a:lnTo>
                  <a:lnTo>
                    <a:pt x="70" y="135"/>
                  </a:lnTo>
                  <a:lnTo>
                    <a:pt x="44" y="130"/>
                  </a:lnTo>
                  <a:lnTo>
                    <a:pt x="21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1" y="20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9" name="Freeform 177">
              <a:extLst>
                <a:ext uri="{FF2B5EF4-FFF2-40B4-BE49-F238E27FC236}">
                  <a16:creationId xmlns:a16="http://schemas.microsoft.com/office/drawing/2014/main" id="{7C5A6B23-6172-47E1-B4A6-40BFFC1581F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366505" y="2097077"/>
              <a:ext cx="175213" cy="175213"/>
            </a:xfrm>
            <a:custGeom>
              <a:avLst/>
              <a:gdLst>
                <a:gd name="T0" fmla="*/ 116 w 219"/>
                <a:gd name="T1" fmla="*/ 0 h 219"/>
                <a:gd name="T2" fmla="*/ 150 w 219"/>
                <a:gd name="T3" fmla="*/ 9 h 219"/>
                <a:gd name="T4" fmla="*/ 179 w 219"/>
                <a:gd name="T5" fmla="*/ 26 h 219"/>
                <a:gd name="T6" fmla="*/ 202 w 219"/>
                <a:gd name="T7" fmla="*/ 52 h 219"/>
                <a:gd name="T8" fmla="*/ 214 w 219"/>
                <a:gd name="T9" fmla="*/ 84 h 219"/>
                <a:gd name="T10" fmla="*/ 219 w 219"/>
                <a:gd name="T11" fmla="*/ 119 h 219"/>
                <a:gd name="T12" fmla="*/ 211 w 219"/>
                <a:gd name="T13" fmla="*/ 150 h 219"/>
                <a:gd name="T14" fmla="*/ 193 w 219"/>
                <a:gd name="T15" fmla="*/ 182 h 219"/>
                <a:gd name="T16" fmla="*/ 168 w 219"/>
                <a:gd name="T17" fmla="*/ 202 h 219"/>
                <a:gd name="T18" fmla="*/ 136 w 219"/>
                <a:gd name="T19" fmla="*/ 217 h 219"/>
                <a:gd name="T20" fmla="*/ 101 w 219"/>
                <a:gd name="T21" fmla="*/ 219 h 219"/>
                <a:gd name="T22" fmla="*/ 67 w 219"/>
                <a:gd name="T23" fmla="*/ 211 h 219"/>
                <a:gd name="T24" fmla="*/ 38 w 219"/>
                <a:gd name="T25" fmla="*/ 193 h 219"/>
                <a:gd name="T26" fmla="*/ 15 w 219"/>
                <a:gd name="T27" fmla="*/ 168 h 219"/>
                <a:gd name="T28" fmla="*/ 3 w 219"/>
                <a:gd name="T29" fmla="*/ 136 h 219"/>
                <a:gd name="T30" fmla="*/ 0 w 219"/>
                <a:gd name="T31" fmla="*/ 104 h 219"/>
                <a:gd name="T32" fmla="*/ 9 w 219"/>
                <a:gd name="T33" fmla="*/ 70 h 219"/>
                <a:gd name="T34" fmla="*/ 26 w 219"/>
                <a:gd name="T35" fmla="*/ 38 h 219"/>
                <a:gd name="T36" fmla="*/ 52 w 219"/>
                <a:gd name="T37" fmla="*/ 18 h 219"/>
                <a:gd name="T38" fmla="*/ 81 w 219"/>
                <a:gd name="T39" fmla="*/ 3 h 219"/>
                <a:gd name="T40" fmla="*/ 116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6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4" y="84"/>
                  </a:lnTo>
                  <a:lnTo>
                    <a:pt x="219" y="119"/>
                  </a:lnTo>
                  <a:lnTo>
                    <a:pt x="211" y="150"/>
                  </a:lnTo>
                  <a:lnTo>
                    <a:pt x="193" y="182"/>
                  </a:lnTo>
                  <a:lnTo>
                    <a:pt x="168" y="202"/>
                  </a:lnTo>
                  <a:lnTo>
                    <a:pt x="136" y="217"/>
                  </a:lnTo>
                  <a:lnTo>
                    <a:pt x="101" y="219"/>
                  </a:lnTo>
                  <a:lnTo>
                    <a:pt x="67" y="211"/>
                  </a:lnTo>
                  <a:lnTo>
                    <a:pt x="38" y="193"/>
                  </a:lnTo>
                  <a:lnTo>
                    <a:pt x="15" y="168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9" y="70"/>
                  </a:lnTo>
                  <a:lnTo>
                    <a:pt x="26" y="38"/>
                  </a:lnTo>
                  <a:lnTo>
                    <a:pt x="52" y="18"/>
                  </a:lnTo>
                  <a:lnTo>
                    <a:pt x="81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0" name="Freeform 178">
              <a:extLst>
                <a:ext uri="{FF2B5EF4-FFF2-40B4-BE49-F238E27FC236}">
                  <a16:creationId xmlns:a16="http://schemas.microsoft.com/office/drawing/2014/main" id="{1DD8133F-144E-4738-9A2B-FF8819217A0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568919" y="1697848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81 w 219"/>
                <a:gd name="T5" fmla="*/ 26 h 219"/>
                <a:gd name="T6" fmla="*/ 201 w 219"/>
                <a:gd name="T7" fmla="*/ 52 h 219"/>
                <a:gd name="T8" fmla="*/ 216 w 219"/>
                <a:gd name="T9" fmla="*/ 84 h 219"/>
                <a:gd name="T10" fmla="*/ 219 w 219"/>
                <a:gd name="T11" fmla="*/ 118 h 219"/>
                <a:gd name="T12" fmla="*/ 210 w 219"/>
                <a:gd name="T13" fmla="*/ 153 h 219"/>
                <a:gd name="T14" fmla="*/ 193 w 219"/>
                <a:gd name="T15" fmla="*/ 182 h 219"/>
                <a:gd name="T16" fmla="*/ 167 w 219"/>
                <a:gd name="T17" fmla="*/ 205 h 219"/>
                <a:gd name="T18" fmla="*/ 135 w 219"/>
                <a:gd name="T19" fmla="*/ 216 h 219"/>
                <a:gd name="T20" fmla="*/ 101 w 219"/>
                <a:gd name="T21" fmla="*/ 219 h 219"/>
                <a:gd name="T22" fmla="*/ 69 w 219"/>
                <a:gd name="T23" fmla="*/ 213 h 219"/>
                <a:gd name="T24" fmla="*/ 37 w 219"/>
                <a:gd name="T25" fmla="*/ 193 h 219"/>
                <a:gd name="T26" fmla="*/ 17 w 219"/>
                <a:gd name="T27" fmla="*/ 167 h 219"/>
                <a:gd name="T28" fmla="*/ 3 w 219"/>
                <a:gd name="T29" fmla="*/ 138 h 219"/>
                <a:gd name="T30" fmla="*/ 0 w 219"/>
                <a:gd name="T31" fmla="*/ 104 h 219"/>
                <a:gd name="T32" fmla="*/ 8 w 219"/>
                <a:gd name="T33" fmla="*/ 69 h 219"/>
                <a:gd name="T34" fmla="*/ 26 w 219"/>
                <a:gd name="T35" fmla="*/ 40 h 219"/>
                <a:gd name="T36" fmla="*/ 52 w 219"/>
                <a:gd name="T37" fmla="*/ 17 h 219"/>
                <a:gd name="T38" fmla="*/ 83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81" y="26"/>
                  </a:lnTo>
                  <a:lnTo>
                    <a:pt x="201" y="52"/>
                  </a:lnTo>
                  <a:lnTo>
                    <a:pt x="216" y="84"/>
                  </a:lnTo>
                  <a:lnTo>
                    <a:pt x="219" y="118"/>
                  </a:lnTo>
                  <a:lnTo>
                    <a:pt x="210" y="153"/>
                  </a:lnTo>
                  <a:lnTo>
                    <a:pt x="193" y="182"/>
                  </a:lnTo>
                  <a:lnTo>
                    <a:pt x="167" y="205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9" y="213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3" y="138"/>
                  </a:lnTo>
                  <a:lnTo>
                    <a:pt x="0" y="104"/>
                  </a:lnTo>
                  <a:lnTo>
                    <a:pt x="8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3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1" name="Freeform 179">
              <a:extLst>
                <a:ext uri="{FF2B5EF4-FFF2-40B4-BE49-F238E27FC236}">
                  <a16:creationId xmlns:a16="http://schemas.microsoft.com/office/drawing/2014/main" id="{E4C8C069-8FED-48DB-A985-0028C32AAA6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693728" y="1511434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79 w 219"/>
                <a:gd name="T5" fmla="*/ 26 h 219"/>
                <a:gd name="T6" fmla="*/ 202 w 219"/>
                <a:gd name="T7" fmla="*/ 52 h 219"/>
                <a:gd name="T8" fmla="*/ 213 w 219"/>
                <a:gd name="T9" fmla="*/ 84 h 219"/>
                <a:gd name="T10" fmla="*/ 219 w 219"/>
                <a:gd name="T11" fmla="*/ 116 h 219"/>
                <a:gd name="T12" fmla="*/ 210 w 219"/>
                <a:gd name="T13" fmla="*/ 150 h 219"/>
                <a:gd name="T14" fmla="*/ 190 w 219"/>
                <a:gd name="T15" fmla="*/ 179 h 219"/>
                <a:gd name="T16" fmla="*/ 164 w 219"/>
                <a:gd name="T17" fmla="*/ 202 h 219"/>
                <a:gd name="T18" fmla="*/ 135 w 219"/>
                <a:gd name="T19" fmla="*/ 217 h 219"/>
                <a:gd name="T20" fmla="*/ 101 w 219"/>
                <a:gd name="T21" fmla="*/ 219 h 219"/>
                <a:gd name="T22" fmla="*/ 66 w 219"/>
                <a:gd name="T23" fmla="*/ 211 h 219"/>
                <a:gd name="T24" fmla="*/ 37 w 219"/>
                <a:gd name="T25" fmla="*/ 194 h 219"/>
                <a:gd name="T26" fmla="*/ 14 w 219"/>
                <a:gd name="T27" fmla="*/ 168 h 219"/>
                <a:gd name="T28" fmla="*/ 3 w 219"/>
                <a:gd name="T29" fmla="*/ 136 h 219"/>
                <a:gd name="T30" fmla="*/ 0 w 219"/>
                <a:gd name="T31" fmla="*/ 101 h 219"/>
                <a:gd name="T32" fmla="*/ 6 w 219"/>
                <a:gd name="T33" fmla="*/ 67 h 219"/>
                <a:gd name="T34" fmla="*/ 26 w 219"/>
                <a:gd name="T35" fmla="*/ 38 h 219"/>
                <a:gd name="T36" fmla="*/ 52 w 219"/>
                <a:gd name="T37" fmla="*/ 15 h 219"/>
                <a:gd name="T38" fmla="*/ 81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3" y="84"/>
                  </a:lnTo>
                  <a:lnTo>
                    <a:pt x="219" y="116"/>
                  </a:lnTo>
                  <a:lnTo>
                    <a:pt x="210" y="150"/>
                  </a:lnTo>
                  <a:lnTo>
                    <a:pt x="190" y="179"/>
                  </a:lnTo>
                  <a:lnTo>
                    <a:pt x="164" y="202"/>
                  </a:lnTo>
                  <a:lnTo>
                    <a:pt x="135" y="217"/>
                  </a:lnTo>
                  <a:lnTo>
                    <a:pt x="101" y="219"/>
                  </a:lnTo>
                  <a:lnTo>
                    <a:pt x="66" y="211"/>
                  </a:lnTo>
                  <a:lnTo>
                    <a:pt x="37" y="194"/>
                  </a:lnTo>
                  <a:lnTo>
                    <a:pt x="14" y="168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6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2" name="Freeform 180">
              <a:extLst>
                <a:ext uri="{FF2B5EF4-FFF2-40B4-BE49-F238E27FC236}">
                  <a16:creationId xmlns:a16="http://schemas.microsoft.com/office/drawing/2014/main" id="{4CB0461C-8DCF-4F42-BFA4-3A872D51B30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834539" y="1337822"/>
              <a:ext cx="175213" cy="173613"/>
            </a:xfrm>
            <a:custGeom>
              <a:avLst/>
              <a:gdLst>
                <a:gd name="T0" fmla="*/ 115 w 219"/>
                <a:gd name="T1" fmla="*/ 0 h 217"/>
                <a:gd name="T2" fmla="*/ 150 w 219"/>
                <a:gd name="T3" fmla="*/ 6 h 217"/>
                <a:gd name="T4" fmla="*/ 179 w 219"/>
                <a:gd name="T5" fmla="*/ 26 h 217"/>
                <a:gd name="T6" fmla="*/ 202 w 219"/>
                <a:gd name="T7" fmla="*/ 49 h 217"/>
                <a:gd name="T8" fmla="*/ 213 w 219"/>
                <a:gd name="T9" fmla="*/ 81 h 217"/>
                <a:gd name="T10" fmla="*/ 219 w 219"/>
                <a:gd name="T11" fmla="*/ 116 h 217"/>
                <a:gd name="T12" fmla="*/ 211 w 219"/>
                <a:gd name="T13" fmla="*/ 150 h 217"/>
                <a:gd name="T14" fmla="*/ 193 w 219"/>
                <a:gd name="T15" fmla="*/ 179 h 217"/>
                <a:gd name="T16" fmla="*/ 167 w 219"/>
                <a:gd name="T17" fmla="*/ 202 h 217"/>
                <a:gd name="T18" fmla="*/ 136 w 219"/>
                <a:gd name="T19" fmla="*/ 214 h 217"/>
                <a:gd name="T20" fmla="*/ 101 w 219"/>
                <a:gd name="T21" fmla="*/ 217 h 217"/>
                <a:gd name="T22" fmla="*/ 66 w 219"/>
                <a:gd name="T23" fmla="*/ 208 h 217"/>
                <a:gd name="T24" fmla="*/ 38 w 219"/>
                <a:gd name="T25" fmla="*/ 191 h 217"/>
                <a:gd name="T26" fmla="*/ 15 w 219"/>
                <a:gd name="T27" fmla="*/ 165 h 217"/>
                <a:gd name="T28" fmla="*/ 3 w 219"/>
                <a:gd name="T29" fmla="*/ 136 h 217"/>
                <a:gd name="T30" fmla="*/ 0 w 219"/>
                <a:gd name="T31" fmla="*/ 101 h 217"/>
                <a:gd name="T32" fmla="*/ 6 w 219"/>
                <a:gd name="T33" fmla="*/ 67 h 217"/>
                <a:gd name="T34" fmla="*/ 26 w 219"/>
                <a:gd name="T35" fmla="*/ 38 h 217"/>
                <a:gd name="T36" fmla="*/ 52 w 219"/>
                <a:gd name="T37" fmla="*/ 15 h 217"/>
                <a:gd name="T38" fmla="*/ 81 w 219"/>
                <a:gd name="T39" fmla="*/ 3 h 217"/>
                <a:gd name="T40" fmla="*/ 115 w 219"/>
                <a:gd name="T41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7">
                  <a:moveTo>
                    <a:pt x="115" y="0"/>
                  </a:moveTo>
                  <a:lnTo>
                    <a:pt x="150" y="6"/>
                  </a:lnTo>
                  <a:lnTo>
                    <a:pt x="179" y="26"/>
                  </a:lnTo>
                  <a:lnTo>
                    <a:pt x="202" y="49"/>
                  </a:lnTo>
                  <a:lnTo>
                    <a:pt x="213" y="81"/>
                  </a:lnTo>
                  <a:lnTo>
                    <a:pt x="219" y="116"/>
                  </a:lnTo>
                  <a:lnTo>
                    <a:pt x="211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6" y="214"/>
                  </a:lnTo>
                  <a:lnTo>
                    <a:pt x="101" y="217"/>
                  </a:lnTo>
                  <a:lnTo>
                    <a:pt x="66" y="208"/>
                  </a:lnTo>
                  <a:lnTo>
                    <a:pt x="38" y="191"/>
                  </a:lnTo>
                  <a:lnTo>
                    <a:pt x="15" y="165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6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3" name="Freeform 181">
              <a:extLst>
                <a:ext uri="{FF2B5EF4-FFF2-40B4-BE49-F238E27FC236}">
                  <a16:creationId xmlns:a16="http://schemas.microsoft.com/office/drawing/2014/main" id="{AD3F8D29-0D2D-4A54-9D16-C10AF234099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988950" y="1177010"/>
              <a:ext cx="175213" cy="172813"/>
            </a:xfrm>
            <a:custGeom>
              <a:avLst/>
              <a:gdLst>
                <a:gd name="T0" fmla="*/ 115 w 219"/>
                <a:gd name="T1" fmla="*/ 0 h 216"/>
                <a:gd name="T2" fmla="*/ 150 w 219"/>
                <a:gd name="T3" fmla="*/ 6 h 216"/>
                <a:gd name="T4" fmla="*/ 179 w 219"/>
                <a:gd name="T5" fmla="*/ 26 h 216"/>
                <a:gd name="T6" fmla="*/ 202 w 219"/>
                <a:gd name="T7" fmla="*/ 52 h 216"/>
                <a:gd name="T8" fmla="*/ 213 w 219"/>
                <a:gd name="T9" fmla="*/ 81 h 216"/>
                <a:gd name="T10" fmla="*/ 219 w 219"/>
                <a:gd name="T11" fmla="*/ 116 h 216"/>
                <a:gd name="T12" fmla="*/ 210 w 219"/>
                <a:gd name="T13" fmla="*/ 150 h 216"/>
                <a:gd name="T14" fmla="*/ 190 w 219"/>
                <a:gd name="T15" fmla="*/ 179 h 216"/>
                <a:gd name="T16" fmla="*/ 164 w 219"/>
                <a:gd name="T17" fmla="*/ 202 h 216"/>
                <a:gd name="T18" fmla="*/ 135 w 219"/>
                <a:gd name="T19" fmla="*/ 213 h 216"/>
                <a:gd name="T20" fmla="*/ 101 w 219"/>
                <a:gd name="T21" fmla="*/ 216 h 216"/>
                <a:gd name="T22" fmla="*/ 66 w 219"/>
                <a:gd name="T23" fmla="*/ 211 h 216"/>
                <a:gd name="T24" fmla="*/ 37 w 219"/>
                <a:gd name="T25" fmla="*/ 190 h 216"/>
                <a:gd name="T26" fmla="*/ 14 w 219"/>
                <a:gd name="T27" fmla="*/ 167 h 216"/>
                <a:gd name="T28" fmla="*/ 3 w 219"/>
                <a:gd name="T29" fmla="*/ 136 h 216"/>
                <a:gd name="T30" fmla="*/ 0 w 219"/>
                <a:gd name="T31" fmla="*/ 101 h 216"/>
                <a:gd name="T32" fmla="*/ 6 w 219"/>
                <a:gd name="T33" fmla="*/ 69 h 216"/>
                <a:gd name="T34" fmla="*/ 26 w 219"/>
                <a:gd name="T35" fmla="*/ 38 h 216"/>
                <a:gd name="T36" fmla="*/ 52 w 219"/>
                <a:gd name="T37" fmla="*/ 15 h 216"/>
                <a:gd name="T38" fmla="*/ 81 w 219"/>
                <a:gd name="T39" fmla="*/ 3 h 216"/>
                <a:gd name="T40" fmla="*/ 115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5" y="0"/>
                  </a:moveTo>
                  <a:lnTo>
                    <a:pt x="150" y="6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3" y="81"/>
                  </a:lnTo>
                  <a:lnTo>
                    <a:pt x="219" y="116"/>
                  </a:lnTo>
                  <a:lnTo>
                    <a:pt x="210" y="150"/>
                  </a:lnTo>
                  <a:lnTo>
                    <a:pt x="190" y="179"/>
                  </a:lnTo>
                  <a:lnTo>
                    <a:pt x="164" y="202"/>
                  </a:lnTo>
                  <a:lnTo>
                    <a:pt x="135" y="213"/>
                  </a:lnTo>
                  <a:lnTo>
                    <a:pt x="101" y="216"/>
                  </a:lnTo>
                  <a:lnTo>
                    <a:pt x="66" y="211"/>
                  </a:lnTo>
                  <a:lnTo>
                    <a:pt x="37" y="190"/>
                  </a:lnTo>
                  <a:lnTo>
                    <a:pt x="14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6" y="69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4" name="Freeform 182">
              <a:extLst>
                <a:ext uri="{FF2B5EF4-FFF2-40B4-BE49-F238E27FC236}">
                  <a16:creationId xmlns:a16="http://schemas.microsoft.com/office/drawing/2014/main" id="{458A9EBB-1E08-4474-A2E4-CC7FBE75122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156962" y="1026599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49 w 219"/>
                <a:gd name="T3" fmla="*/ 8 h 219"/>
                <a:gd name="T4" fmla="*/ 178 w 219"/>
                <a:gd name="T5" fmla="*/ 26 h 219"/>
                <a:gd name="T6" fmla="*/ 201 w 219"/>
                <a:gd name="T7" fmla="*/ 52 h 219"/>
                <a:gd name="T8" fmla="*/ 216 w 219"/>
                <a:gd name="T9" fmla="*/ 83 h 219"/>
                <a:gd name="T10" fmla="*/ 219 w 219"/>
                <a:gd name="T11" fmla="*/ 118 h 219"/>
                <a:gd name="T12" fmla="*/ 210 w 219"/>
                <a:gd name="T13" fmla="*/ 150 h 219"/>
                <a:gd name="T14" fmla="*/ 193 w 219"/>
                <a:gd name="T15" fmla="*/ 181 h 219"/>
                <a:gd name="T16" fmla="*/ 167 w 219"/>
                <a:gd name="T17" fmla="*/ 201 h 219"/>
                <a:gd name="T18" fmla="*/ 135 w 219"/>
                <a:gd name="T19" fmla="*/ 216 h 219"/>
                <a:gd name="T20" fmla="*/ 100 w 219"/>
                <a:gd name="T21" fmla="*/ 219 h 219"/>
                <a:gd name="T22" fmla="*/ 66 w 219"/>
                <a:gd name="T23" fmla="*/ 210 h 219"/>
                <a:gd name="T24" fmla="*/ 37 w 219"/>
                <a:gd name="T25" fmla="*/ 193 h 219"/>
                <a:gd name="T26" fmla="*/ 14 w 219"/>
                <a:gd name="T27" fmla="*/ 167 h 219"/>
                <a:gd name="T28" fmla="*/ 2 w 219"/>
                <a:gd name="T29" fmla="*/ 135 h 219"/>
                <a:gd name="T30" fmla="*/ 0 w 219"/>
                <a:gd name="T31" fmla="*/ 103 h 219"/>
                <a:gd name="T32" fmla="*/ 5 w 219"/>
                <a:gd name="T33" fmla="*/ 69 h 219"/>
                <a:gd name="T34" fmla="*/ 25 w 219"/>
                <a:gd name="T35" fmla="*/ 40 h 219"/>
                <a:gd name="T36" fmla="*/ 51 w 219"/>
                <a:gd name="T37" fmla="*/ 17 h 219"/>
                <a:gd name="T38" fmla="*/ 83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49" y="8"/>
                  </a:lnTo>
                  <a:lnTo>
                    <a:pt x="178" y="26"/>
                  </a:lnTo>
                  <a:lnTo>
                    <a:pt x="201" y="52"/>
                  </a:lnTo>
                  <a:lnTo>
                    <a:pt x="216" y="83"/>
                  </a:lnTo>
                  <a:lnTo>
                    <a:pt x="219" y="118"/>
                  </a:lnTo>
                  <a:lnTo>
                    <a:pt x="210" y="150"/>
                  </a:lnTo>
                  <a:lnTo>
                    <a:pt x="193" y="181"/>
                  </a:lnTo>
                  <a:lnTo>
                    <a:pt x="167" y="201"/>
                  </a:lnTo>
                  <a:lnTo>
                    <a:pt x="135" y="216"/>
                  </a:lnTo>
                  <a:lnTo>
                    <a:pt x="100" y="219"/>
                  </a:lnTo>
                  <a:lnTo>
                    <a:pt x="66" y="210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2" y="135"/>
                  </a:lnTo>
                  <a:lnTo>
                    <a:pt x="0" y="103"/>
                  </a:lnTo>
                  <a:lnTo>
                    <a:pt x="5" y="69"/>
                  </a:lnTo>
                  <a:lnTo>
                    <a:pt x="25" y="40"/>
                  </a:lnTo>
                  <a:lnTo>
                    <a:pt x="51" y="17"/>
                  </a:lnTo>
                  <a:lnTo>
                    <a:pt x="83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5" name="Freeform 183">
              <a:extLst>
                <a:ext uri="{FF2B5EF4-FFF2-40B4-BE49-F238E27FC236}">
                  <a16:creationId xmlns:a16="http://schemas.microsoft.com/office/drawing/2014/main" id="{F0777E97-F265-41BE-B27B-F6D0F301BF8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336975" y="892989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8 h 219"/>
                <a:gd name="T4" fmla="*/ 181 w 219"/>
                <a:gd name="T5" fmla="*/ 26 h 219"/>
                <a:gd name="T6" fmla="*/ 201 w 219"/>
                <a:gd name="T7" fmla="*/ 52 h 219"/>
                <a:gd name="T8" fmla="*/ 216 w 219"/>
                <a:gd name="T9" fmla="*/ 83 h 219"/>
                <a:gd name="T10" fmla="*/ 219 w 219"/>
                <a:gd name="T11" fmla="*/ 118 h 219"/>
                <a:gd name="T12" fmla="*/ 210 w 219"/>
                <a:gd name="T13" fmla="*/ 150 h 219"/>
                <a:gd name="T14" fmla="*/ 193 w 219"/>
                <a:gd name="T15" fmla="*/ 181 h 219"/>
                <a:gd name="T16" fmla="*/ 167 w 219"/>
                <a:gd name="T17" fmla="*/ 204 h 219"/>
                <a:gd name="T18" fmla="*/ 135 w 219"/>
                <a:gd name="T19" fmla="*/ 216 h 219"/>
                <a:gd name="T20" fmla="*/ 101 w 219"/>
                <a:gd name="T21" fmla="*/ 219 h 219"/>
                <a:gd name="T22" fmla="*/ 69 w 219"/>
                <a:gd name="T23" fmla="*/ 210 h 219"/>
                <a:gd name="T24" fmla="*/ 37 w 219"/>
                <a:gd name="T25" fmla="*/ 193 h 219"/>
                <a:gd name="T26" fmla="*/ 17 w 219"/>
                <a:gd name="T27" fmla="*/ 167 h 219"/>
                <a:gd name="T28" fmla="*/ 3 w 219"/>
                <a:gd name="T29" fmla="*/ 138 h 219"/>
                <a:gd name="T30" fmla="*/ 0 w 219"/>
                <a:gd name="T31" fmla="*/ 104 h 219"/>
                <a:gd name="T32" fmla="*/ 8 w 219"/>
                <a:gd name="T33" fmla="*/ 69 h 219"/>
                <a:gd name="T34" fmla="*/ 26 w 219"/>
                <a:gd name="T35" fmla="*/ 40 h 219"/>
                <a:gd name="T36" fmla="*/ 52 w 219"/>
                <a:gd name="T37" fmla="*/ 17 h 219"/>
                <a:gd name="T38" fmla="*/ 83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8"/>
                  </a:lnTo>
                  <a:lnTo>
                    <a:pt x="181" y="26"/>
                  </a:lnTo>
                  <a:lnTo>
                    <a:pt x="201" y="52"/>
                  </a:lnTo>
                  <a:lnTo>
                    <a:pt x="216" y="83"/>
                  </a:lnTo>
                  <a:lnTo>
                    <a:pt x="219" y="118"/>
                  </a:lnTo>
                  <a:lnTo>
                    <a:pt x="210" y="150"/>
                  </a:lnTo>
                  <a:lnTo>
                    <a:pt x="193" y="181"/>
                  </a:lnTo>
                  <a:lnTo>
                    <a:pt x="167" y="204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9" y="210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3" y="138"/>
                  </a:lnTo>
                  <a:lnTo>
                    <a:pt x="0" y="104"/>
                  </a:lnTo>
                  <a:lnTo>
                    <a:pt x="8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3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6" name="Freeform 184">
              <a:extLst>
                <a:ext uri="{FF2B5EF4-FFF2-40B4-BE49-F238E27FC236}">
                  <a16:creationId xmlns:a16="http://schemas.microsoft.com/office/drawing/2014/main" id="{AC530899-FBFB-4D7D-8342-562FD7307EF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528990" y="775381"/>
              <a:ext cx="172813" cy="172813"/>
            </a:xfrm>
            <a:custGeom>
              <a:avLst/>
              <a:gdLst>
                <a:gd name="T0" fmla="*/ 116 w 216"/>
                <a:gd name="T1" fmla="*/ 0 h 216"/>
                <a:gd name="T2" fmla="*/ 150 w 216"/>
                <a:gd name="T3" fmla="*/ 5 h 216"/>
                <a:gd name="T4" fmla="*/ 179 w 216"/>
                <a:gd name="T5" fmla="*/ 26 h 216"/>
                <a:gd name="T6" fmla="*/ 202 w 216"/>
                <a:gd name="T7" fmla="*/ 49 h 216"/>
                <a:gd name="T8" fmla="*/ 214 w 216"/>
                <a:gd name="T9" fmla="*/ 80 h 216"/>
                <a:gd name="T10" fmla="*/ 216 w 216"/>
                <a:gd name="T11" fmla="*/ 115 h 216"/>
                <a:gd name="T12" fmla="*/ 211 w 216"/>
                <a:gd name="T13" fmla="*/ 150 h 216"/>
                <a:gd name="T14" fmla="*/ 191 w 216"/>
                <a:gd name="T15" fmla="*/ 178 h 216"/>
                <a:gd name="T16" fmla="*/ 165 w 216"/>
                <a:gd name="T17" fmla="*/ 201 h 216"/>
                <a:gd name="T18" fmla="*/ 136 w 216"/>
                <a:gd name="T19" fmla="*/ 213 h 216"/>
                <a:gd name="T20" fmla="*/ 101 w 216"/>
                <a:gd name="T21" fmla="*/ 216 h 216"/>
                <a:gd name="T22" fmla="*/ 67 w 216"/>
                <a:gd name="T23" fmla="*/ 210 h 216"/>
                <a:gd name="T24" fmla="*/ 38 w 216"/>
                <a:gd name="T25" fmla="*/ 190 h 216"/>
                <a:gd name="T26" fmla="*/ 15 w 216"/>
                <a:gd name="T27" fmla="*/ 167 h 216"/>
                <a:gd name="T28" fmla="*/ 3 w 216"/>
                <a:gd name="T29" fmla="*/ 135 h 216"/>
                <a:gd name="T30" fmla="*/ 0 w 216"/>
                <a:gd name="T31" fmla="*/ 101 h 216"/>
                <a:gd name="T32" fmla="*/ 6 w 216"/>
                <a:gd name="T33" fmla="*/ 66 h 216"/>
                <a:gd name="T34" fmla="*/ 26 w 216"/>
                <a:gd name="T35" fmla="*/ 37 h 216"/>
                <a:gd name="T36" fmla="*/ 49 w 216"/>
                <a:gd name="T37" fmla="*/ 14 h 216"/>
                <a:gd name="T38" fmla="*/ 81 w 216"/>
                <a:gd name="T39" fmla="*/ 3 h 216"/>
                <a:gd name="T40" fmla="*/ 116 w 216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6">
                  <a:moveTo>
                    <a:pt x="116" y="0"/>
                  </a:moveTo>
                  <a:lnTo>
                    <a:pt x="150" y="5"/>
                  </a:lnTo>
                  <a:lnTo>
                    <a:pt x="179" y="26"/>
                  </a:lnTo>
                  <a:lnTo>
                    <a:pt x="202" y="49"/>
                  </a:lnTo>
                  <a:lnTo>
                    <a:pt x="214" y="80"/>
                  </a:lnTo>
                  <a:lnTo>
                    <a:pt x="216" y="115"/>
                  </a:lnTo>
                  <a:lnTo>
                    <a:pt x="211" y="150"/>
                  </a:lnTo>
                  <a:lnTo>
                    <a:pt x="191" y="178"/>
                  </a:lnTo>
                  <a:lnTo>
                    <a:pt x="165" y="201"/>
                  </a:lnTo>
                  <a:lnTo>
                    <a:pt x="136" y="213"/>
                  </a:lnTo>
                  <a:lnTo>
                    <a:pt x="101" y="216"/>
                  </a:lnTo>
                  <a:lnTo>
                    <a:pt x="67" y="210"/>
                  </a:lnTo>
                  <a:lnTo>
                    <a:pt x="38" y="190"/>
                  </a:lnTo>
                  <a:lnTo>
                    <a:pt x="15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6" y="66"/>
                  </a:lnTo>
                  <a:lnTo>
                    <a:pt x="26" y="37"/>
                  </a:lnTo>
                  <a:lnTo>
                    <a:pt x="49" y="14"/>
                  </a:lnTo>
                  <a:lnTo>
                    <a:pt x="81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7" name="Freeform 185">
              <a:extLst>
                <a:ext uri="{FF2B5EF4-FFF2-40B4-BE49-F238E27FC236}">
                  <a16:creationId xmlns:a16="http://schemas.microsoft.com/office/drawing/2014/main" id="{B583C32F-7739-453B-AB5B-B0291FDC3B30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726604" y="671373"/>
              <a:ext cx="176013" cy="175213"/>
            </a:xfrm>
            <a:custGeom>
              <a:avLst/>
              <a:gdLst>
                <a:gd name="T0" fmla="*/ 116 w 220"/>
                <a:gd name="T1" fmla="*/ 0 h 219"/>
                <a:gd name="T2" fmla="*/ 150 w 220"/>
                <a:gd name="T3" fmla="*/ 8 h 219"/>
                <a:gd name="T4" fmla="*/ 182 w 220"/>
                <a:gd name="T5" fmla="*/ 25 h 219"/>
                <a:gd name="T6" fmla="*/ 202 w 220"/>
                <a:gd name="T7" fmla="*/ 51 h 219"/>
                <a:gd name="T8" fmla="*/ 217 w 220"/>
                <a:gd name="T9" fmla="*/ 83 h 219"/>
                <a:gd name="T10" fmla="*/ 220 w 220"/>
                <a:gd name="T11" fmla="*/ 115 h 219"/>
                <a:gd name="T12" fmla="*/ 211 w 220"/>
                <a:gd name="T13" fmla="*/ 149 h 219"/>
                <a:gd name="T14" fmla="*/ 194 w 220"/>
                <a:gd name="T15" fmla="*/ 181 h 219"/>
                <a:gd name="T16" fmla="*/ 168 w 220"/>
                <a:gd name="T17" fmla="*/ 201 h 219"/>
                <a:gd name="T18" fmla="*/ 136 w 220"/>
                <a:gd name="T19" fmla="*/ 216 h 219"/>
                <a:gd name="T20" fmla="*/ 104 w 220"/>
                <a:gd name="T21" fmla="*/ 219 h 219"/>
                <a:gd name="T22" fmla="*/ 70 w 220"/>
                <a:gd name="T23" fmla="*/ 210 h 219"/>
                <a:gd name="T24" fmla="*/ 38 w 220"/>
                <a:gd name="T25" fmla="*/ 193 h 219"/>
                <a:gd name="T26" fmla="*/ 18 w 220"/>
                <a:gd name="T27" fmla="*/ 167 h 219"/>
                <a:gd name="T28" fmla="*/ 3 w 220"/>
                <a:gd name="T29" fmla="*/ 135 h 219"/>
                <a:gd name="T30" fmla="*/ 0 w 220"/>
                <a:gd name="T31" fmla="*/ 103 h 219"/>
                <a:gd name="T32" fmla="*/ 9 w 220"/>
                <a:gd name="T33" fmla="*/ 69 h 219"/>
                <a:gd name="T34" fmla="*/ 26 w 220"/>
                <a:gd name="T35" fmla="*/ 37 h 219"/>
                <a:gd name="T36" fmla="*/ 52 w 220"/>
                <a:gd name="T37" fmla="*/ 17 h 219"/>
                <a:gd name="T38" fmla="*/ 84 w 220"/>
                <a:gd name="T39" fmla="*/ 2 h 219"/>
                <a:gd name="T40" fmla="*/ 116 w 220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0" h="219">
                  <a:moveTo>
                    <a:pt x="116" y="0"/>
                  </a:moveTo>
                  <a:lnTo>
                    <a:pt x="150" y="8"/>
                  </a:lnTo>
                  <a:lnTo>
                    <a:pt x="182" y="25"/>
                  </a:lnTo>
                  <a:lnTo>
                    <a:pt x="202" y="51"/>
                  </a:lnTo>
                  <a:lnTo>
                    <a:pt x="217" y="83"/>
                  </a:lnTo>
                  <a:lnTo>
                    <a:pt x="220" y="115"/>
                  </a:lnTo>
                  <a:lnTo>
                    <a:pt x="211" y="149"/>
                  </a:lnTo>
                  <a:lnTo>
                    <a:pt x="194" y="181"/>
                  </a:lnTo>
                  <a:lnTo>
                    <a:pt x="168" y="201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70" y="210"/>
                  </a:lnTo>
                  <a:lnTo>
                    <a:pt x="38" y="193"/>
                  </a:lnTo>
                  <a:lnTo>
                    <a:pt x="18" y="167"/>
                  </a:lnTo>
                  <a:lnTo>
                    <a:pt x="3" y="135"/>
                  </a:lnTo>
                  <a:lnTo>
                    <a:pt x="0" y="103"/>
                  </a:lnTo>
                  <a:lnTo>
                    <a:pt x="9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4" y="2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8" name="Freeform 186">
              <a:extLst>
                <a:ext uri="{FF2B5EF4-FFF2-40B4-BE49-F238E27FC236}">
                  <a16:creationId xmlns:a16="http://schemas.microsoft.com/office/drawing/2014/main" id="{58412B9D-2268-4D61-82BD-717A0368DAC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400253" y="503361"/>
              <a:ext cx="108808" cy="108008"/>
            </a:xfrm>
            <a:custGeom>
              <a:avLst/>
              <a:gdLst>
                <a:gd name="T0" fmla="*/ 67 w 136"/>
                <a:gd name="T1" fmla="*/ 0 h 135"/>
                <a:gd name="T2" fmla="*/ 95 w 136"/>
                <a:gd name="T3" fmla="*/ 5 h 135"/>
                <a:gd name="T4" fmla="*/ 116 w 136"/>
                <a:gd name="T5" fmla="*/ 20 h 135"/>
                <a:gd name="T6" fmla="*/ 130 w 136"/>
                <a:gd name="T7" fmla="*/ 40 h 135"/>
                <a:gd name="T8" fmla="*/ 136 w 136"/>
                <a:gd name="T9" fmla="*/ 66 h 135"/>
                <a:gd name="T10" fmla="*/ 133 w 136"/>
                <a:gd name="T11" fmla="*/ 92 h 135"/>
                <a:gd name="T12" fmla="*/ 116 w 136"/>
                <a:gd name="T13" fmla="*/ 115 h 135"/>
                <a:gd name="T14" fmla="*/ 95 w 136"/>
                <a:gd name="T15" fmla="*/ 129 h 135"/>
                <a:gd name="T16" fmla="*/ 69 w 136"/>
                <a:gd name="T17" fmla="*/ 135 h 135"/>
                <a:gd name="T18" fmla="*/ 44 w 136"/>
                <a:gd name="T19" fmla="*/ 129 h 135"/>
                <a:gd name="T20" fmla="*/ 20 w 136"/>
                <a:gd name="T21" fmla="*/ 115 h 135"/>
                <a:gd name="T22" fmla="*/ 6 w 136"/>
                <a:gd name="T23" fmla="*/ 95 h 135"/>
                <a:gd name="T24" fmla="*/ 0 w 136"/>
                <a:gd name="T25" fmla="*/ 69 h 135"/>
                <a:gd name="T26" fmla="*/ 6 w 136"/>
                <a:gd name="T27" fmla="*/ 43 h 135"/>
                <a:gd name="T28" fmla="*/ 20 w 136"/>
                <a:gd name="T29" fmla="*/ 20 h 135"/>
                <a:gd name="T30" fmla="*/ 44 w 136"/>
                <a:gd name="T31" fmla="*/ 5 h 135"/>
                <a:gd name="T32" fmla="*/ 67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7" y="0"/>
                  </a:moveTo>
                  <a:lnTo>
                    <a:pt x="95" y="5"/>
                  </a:lnTo>
                  <a:lnTo>
                    <a:pt x="116" y="20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3" y="92"/>
                  </a:lnTo>
                  <a:lnTo>
                    <a:pt x="116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4" y="129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4" y="5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9" name="Freeform 187">
              <a:extLst>
                <a:ext uri="{FF2B5EF4-FFF2-40B4-BE49-F238E27FC236}">
                  <a16:creationId xmlns:a16="http://schemas.microsoft.com/office/drawing/2014/main" id="{BCC9401E-1E2A-4681-87CD-F2E6CDC7413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589867" y="438556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50 w 216"/>
                <a:gd name="T3" fmla="*/ 8 h 219"/>
                <a:gd name="T4" fmla="*/ 179 w 216"/>
                <a:gd name="T5" fmla="*/ 26 h 219"/>
                <a:gd name="T6" fmla="*/ 202 w 216"/>
                <a:gd name="T7" fmla="*/ 51 h 219"/>
                <a:gd name="T8" fmla="*/ 213 w 216"/>
                <a:gd name="T9" fmla="*/ 83 h 219"/>
                <a:gd name="T10" fmla="*/ 216 w 216"/>
                <a:gd name="T11" fmla="*/ 115 h 219"/>
                <a:gd name="T12" fmla="*/ 211 w 216"/>
                <a:gd name="T13" fmla="*/ 149 h 219"/>
                <a:gd name="T14" fmla="*/ 190 w 216"/>
                <a:gd name="T15" fmla="*/ 181 h 219"/>
                <a:gd name="T16" fmla="*/ 164 w 216"/>
                <a:gd name="T17" fmla="*/ 201 h 219"/>
                <a:gd name="T18" fmla="*/ 136 w 216"/>
                <a:gd name="T19" fmla="*/ 216 h 219"/>
                <a:gd name="T20" fmla="*/ 101 w 216"/>
                <a:gd name="T21" fmla="*/ 219 h 219"/>
                <a:gd name="T22" fmla="*/ 66 w 216"/>
                <a:gd name="T23" fmla="*/ 210 h 219"/>
                <a:gd name="T24" fmla="*/ 38 w 216"/>
                <a:gd name="T25" fmla="*/ 193 h 219"/>
                <a:gd name="T26" fmla="*/ 15 w 216"/>
                <a:gd name="T27" fmla="*/ 167 h 219"/>
                <a:gd name="T28" fmla="*/ 3 w 216"/>
                <a:gd name="T29" fmla="*/ 135 h 219"/>
                <a:gd name="T30" fmla="*/ 0 w 216"/>
                <a:gd name="T31" fmla="*/ 103 h 219"/>
                <a:gd name="T32" fmla="*/ 6 w 216"/>
                <a:gd name="T33" fmla="*/ 69 h 219"/>
                <a:gd name="T34" fmla="*/ 26 w 216"/>
                <a:gd name="T35" fmla="*/ 37 h 219"/>
                <a:gd name="T36" fmla="*/ 49 w 216"/>
                <a:gd name="T37" fmla="*/ 17 h 219"/>
                <a:gd name="T38" fmla="*/ 81 w 216"/>
                <a:gd name="T39" fmla="*/ 3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50" y="8"/>
                  </a:lnTo>
                  <a:lnTo>
                    <a:pt x="179" y="26"/>
                  </a:lnTo>
                  <a:lnTo>
                    <a:pt x="202" y="51"/>
                  </a:lnTo>
                  <a:lnTo>
                    <a:pt x="213" y="83"/>
                  </a:lnTo>
                  <a:lnTo>
                    <a:pt x="216" y="115"/>
                  </a:lnTo>
                  <a:lnTo>
                    <a:pt x="211" y="149"/>
                  </a:lnTo>
                  <a:lnTo>
                    <a:pt x="190" y="181"/>
                  </a:lnTo>
                  <a:lnTo>
                    <a:pt x="164" y="201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6" y="210"/>
                  </a:lnTo>
                  <a:lnTo>
                    <a:pt x="38" y="193"/>
                  </a:lnTo>
                  <a:lnTo>
                    <a:pt x="15" y="167"/>
                  </a:lnTo>
                  <a:lnTo>
                    <a:pt x="3" y="135"/>
                  </a:lnTo>
                  <a:lnTo>
                    <a:pt x="0" y="103"/>
                  </a:lnTo>
                  <a:lnTo>
                    <a:pt x="6" y="69"/>
                  </a:lnTo>
                  <a:lnTo>
                    <a:pt x="26" y="37"/>
                  </a:lnTo>
                  <a:lnTo>
                    <a:pt x="49" y="17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0" name="Freeform 188">
              <a:extLst>
                <a:ext uri="{FF2B5EF4-FFF2-40B4-BE49-F238E27FC236}">
                  <a16:creationId xmlns:a16="http://schemas.microsoft.com/office/drawing/2014/main" id="{FB493F22-4C9F-4CF6-8E8A-7D3567BFA77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2037099" y="434556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3 w 219"/>
                <a:gd name="T3" fmla="*/ 9 h 219"/>
                <a:gd name="T4" fmla="*/ 182 w 219"/>
                <a:gd name="T5" fmla="*/ 26 h 219"/>
                <a:gd name="T6" fmla="*/ 205 w 219"/>
                <a:gd name="T7" fmla="*/ 52 h 219"/>
                <a:gd name="T8" fmla="*/ 216 w 219"/>
                <a:gd name="T9" fmla="*/ 84 h 219"/>
                <a:gd name="T10" fmla="*/ 219 w 219"/>
                <a:gd name="T11" fmla="*/ 119 h 219"/>
                <a:gd name="T12" fmla="*/ 213 w 219"/>
                <a:gd name="T13" fmla="*/ 153 h 219"/>
                <a:gd name="T14" fmla="*/ 193 w 219"/>
                <a:gd name="T15" fmla="*/ 182 h 219"/>
                <a:gd name="T16" fmla="*/ 167 w 219"/>
                <a:gd name="T17" fmla="*/ 205 h 219"/>
                <a:gd name="T18" fmla="*/ 138 w 219"/>
                <a:gd name="T19" fmla="*/ 217 h 219"/>
                <a:gd name="T20" fmla="*/ 104 w 219"/>
                <a:gd name="T21" fmla="*/ 219 h 219"/>
                <a:gd name="T22" fmla="*/ 69 w 219"/>
                <a:gd name="T23" fmla="*/ 214 h 219"/>
                <a:gd name="T24" fmla="*/ 40 w 219"/>
                <a:gd name="T25" fmla="*/ 193 h 219"/>
                <a:gd name="T26" fmla="*/ 17 w 219"/>
                <a:gd name="T27" fmla="*/ 168 h 219"/>
                <a:gd name="T28" fmla="*/ 3 w 219"/>
                <a:gd name="T29" fmla="*/ 139 h 219"/>
                <a:gd name="T30" fmla="*/ 0 w 219"/>
                <a:gd name="T31" fmla="*/ 104 h 219"/>
                <a:gd name="T32" fmla="*/ 9 w 219"/>
                <a:gd name="T33" fmla="*/ 70 h 219"/>
                <a:gd name="T34" fmla="*/ 26 w 219"/>
                <a:gd name="T35" fmla="*/ 41 h 219"/>
                <a:gd name="T36" fmla="*/ 52 w 219"/>
                <a:gd name="T37" fmla="*/ 18 h 219"/>
                <a:gd name="T38" fmla="*/ 84 w 219"/>
                <a:gd name="T39" fmla="*/ 6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3" y="9"/>
                  </a:lnTo>
                  <a:lnTo>
                    <a:pt x="182" y="26"/>
                  </a:lnTo>
                  <a:lnTo>
                    <a:pt x="205" y="52"/>
                  </a:lnTo>
                  <a:lnTo>
                    <a:pt x="216" y="84"/>
                  </a:lnTo>
                  <a:lnTo>
                    <a:pt x="219" y="119"/>
                  </a:lnTo>
                  <a:lnTo>
                    <a:pt x="213" y="153"/>
                  </a:lnTo>
                  <a:lnTo>
                    <a:pt x="193" y="182"/>
                  </a:lnTo>
                  <a:lnTo>
                    <a:pt x="167" y="205"/>
                  </a:lnTo>
                  <a:lnTo>
                    <a:pt x="138" y="217"/>
                  </a:lnTo>
                  <a:lnTo>
                    <a:pt x="104" y="219"/>
                  </a:lnTo>
                  <a:lnTo>
                    <a:pt x="69" y="214"/>
                  </a:lnTo>
                  <a:lnTo>
                    <a:pt x="40" y="193"/>
                  </a:lnTo>
                  <a:lnTo>
                    <a:pt x="17" y="168"/>
                  </a:lnTo>
                  <a:lnTo>
                    <a:pt x="3" y="139"/>
                  </a:lnTo>
                  <a:lnTo>
                    <a:pt x="0" y="104"/>
                  </a:lnTo>
                  <a:lnTo>
                    <a:pt x="9" y="70"/>
                  </a:lnTo>
                  <a:lnTo>
                    <a:pt x="26" y="41"/>
                  </a:lnTo>
                  <a:lnTo>
                    <a:pt x="52" y="18"/>
                  </a:lnTo>
                  <a:lnTo>
                    <a:pt x="84" y="6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1" name="Freeform 189">
              <a:extLst>
                <a:ext uri="{FF2B5EF4-FFF2-40B4-BE49-F238E27FC236}">
                  <a16:creationId xmlns:a16="http://schemas.microsoft.com/office/drawing/2014/main" id="{C4242F3E-C49C-46AC-A7DE-706DAAA03EE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769080" y="5774945"/>
              <a:ext cx="176013" cy="175213"/>
            </a:xfrm>
            <a:custGeom>
              <a:avLst/>
              <a:gdLst>
                <a:gd name="T0" fmla="*/ 116 w 220"/>
                <a:gd name="T1" fmla="*/ 0 h 219"/>
                <a:gd name="T2" fmla="*/ 150 w 220"/>
                <a:gd name="T3" fmla="*/ 9 h 219"/>
                <a:gd name="T4" fmla="*/ 182 w 220"/>
                <a:gd name="T5" fmla="*/ 26 h 219"/>
                <a:gd name="T6" fmla="*/ 202 w 220"/>
                <a:gd name="T7" fmla="*/ 52 h 219"/>
                <a:gd name="T8" fmla="*/ 217 w 220"/>
                <a:gd name="T9" fmla="*/ 81 h 219"/>
                <a:gd name="T10" fmla="*/ 220 w 220"/>
                <a:gd name="T11" fmla="*/ 116 h 219"/>
                <a:gd name="T12" fmla="*/ 211 w 220"/>
                <a:gd name="T13" fmla="*/ 150 h 219"/>
                <a:gd name="T14" fmla="*/ 194 w 220"/>
                <a:gd name="T15" fmla="*/ 179 h 219"/>
                <a:gd name="T16" fmla="*/ 168 w 220"/>
                <a:gd name="T17" fmla="*/ 202 h 219"/>
                <a:gd name="T18" fmla="*/ 136 w 220"/>
                <a:gd name="T19" fmla="*/ 217 h 219"/>
                <a:gd name="T20" fmla="*/ 101 w 220"/>
                <a:gd name="T21" fmla="*/ 219 h 219"/>
                <a:gd name="T22" fmla="*/ 70 w 220"/>
                <a:gd name="T23" fmla="*/ 211 h 219"/>
                <a:gd name="T24" fmla="*/ 38 w 220"/>
                <a:gd name="T25" fmla="*/ 193 h 219"/>
                <a:gd name="T26" fmla="*/ 18 w 220"/>
                <a:gd name="T27" fmla="*/ 168 h 219"/>
                <a:gd name="T28" fmla="*/ 3 w 220"/>
                <a:gd name="T29" fmla="*/ 136 h 219"/>
                <a:gd name="T30" fmla="*/ 0 w 220"/>
                <a:gd name="T31" fmla="*/ 101 h 219"/>
                <a:gd name="T32" fmla="*/ 9 w 220"/>
                <a:gd name="T33" fmla="*/ 67 h 219"/>
                <a:gd name="T34" fmla="*/ 26 w 220"/>
                <a:gd name="T35" fmla="*/ 38 h 219"/>
                <a:gd name="T36" fmla="*/ 52 w 220"/>
                <a:gd name="T37" fmla="*/ 18 h 219"/>
                <a:gd name="T38" fmla="*/ 84 w 220"/>
                <a:gd name="T39" fmla="*/ 3 h 219"/>
                <a:gd name="T40" fmla="*/ 116 w 220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0" h="219">
                  <a:moveTo>
                    <a:pt x="116" y="0"/>
                  </a:moveTo>
                  <a:lnTo>
                    <a:pt x="150" y="9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7" y="81"/>
                  </a:lnTo>
                  <a:lnTo>
                    <a:pt x="220" y="116"/>
                  </a:lnTo>
                  <a:lnTo>
                    <a:pt x="211" y="150"/>
                  </a:lnTo>
                  <a:lnTo>
                    <a:pt x="194" y="179"/>
                  </a:lnTo>
                  <a:lnTo>
                    <a:pt x="168" y="202"/>
                  </a:lnTo>
                  <a:lnTo>
                    <a:pt x="136" y="217"/>
                  </a:lnTo>
                  <a:lnTo>
                    <a:pt x="101" y="219"/>
                  </a:lnTo>
                  <a:lnTo>
                    <a:pt x="70" y="211"/>
                  </a:lnTo>
                  <a:lnTo>
                    <a:pt x="38" y="193"/>
                  </a:lnTo>
                  <a:lnTo>
                    <a:pt x="18" y="168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9" y="67"/>
                  </a:lnTo>
                  <a:lnTo>
                    <a:pt x="26" y="38"/>
                  </a:lnTo>
                  <a:lnTo>
                    <a:pt x="52" y="18"/>
                  </a:lnTo>
                  <a:lnTo>
                    <a:pt x="84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2" name="Freeform 190">
              <a:extLst>
                <a:ext uri="{FF2B5EF4-FFF2-40B4-BE49-F238E27FC236}">
                  <a16:creationId xmlns:a16="http://schemas.microsoft.com/office/drawing/2014/main" id="{F2D18647-31D4-4401-8A8F-04F1BE5CEC0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545864" y="5758144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5 h 219"/>
                <a:gd name="T4" fmla="*/ 182 w 219"/>
                <a:gd name="T5" fmla="*/ 26 h 219"/>
                <a:gd name="T6" fmla="*/ 202 w 219"/>
                <a:gd name="T7" fmla="*/ 51 h 219"/>
                <a:gd name="T8" fmla="*/ 216 w 219"/>
                <a:gd name="T9" fmla="*/ 80 h 219"/>
                <a:gd name="T10" fmla="*/ 219 w 219"/>
                <a:gd name="T11" fmla="*/ 115 h 219"/>
                <a:gd name="T12" fmla="*/ 211 w 219"/>
                <a:gd name="T13" fmla="*/ 149 h 219"/>
                <a:gd name="T14" fmla="*/ 193 w 219"/>
                <a:gd name="T15" fmla="*/ 178 h 219"/>
                <a:gd name="T16" fmla="*/ 167 w 219"/>
                <a:gd name="T17" fmla="*/ 201 h 219"/>
                <a:gd name="T18" fmla="*/ 136 w 219"/>
                <a:gd name="T19" fmla="*/ 213 h 219"/>
                <a:gd name="T20" fmla="*/ 101 w 219"/>
                <a:gd name="T21" fmla="*/ 219 h 219"/>
                <a:gd name="T22" fmla="*/ 69 w 219"/>
                <a:gd name="T23" fmla="*/ 210 h 219"/>
                <a:gd name="T24" fmla="*/ 38 w 219"/>
                <a:gd name="T25" fmla="*/ 193 h 219"/>
                <a:gd name="T26" fmla="*/ 17 w 219"/>
                <a:gd name="T27" fmla="*/ 167 h 219"/>
                <a:gd name="T28" fmla="*/ 3 w 219"/>
                <a:gd name="T29" fmla="*/ 135 h 219"/>
                <a:gd name="T30" fmla="*/ 0 w 219"/>
                <a:gd name="T31" fmla="*/ 100 h 219"/>
                <a:gd name="T32" fmla="*/ 9 w 219"/>
                <a:gd name="T33" fmla="*/ 66 h 219"/>
                <a:gd name="T34" fmla="*/ 26 w 219"/>
                <a:gd name="T35" fmla="*/ 37 h 219"/>
                <a:gd name="T36" fmla="*/ 52 w 219"/>
                <a:gd name="T37" fmla="*/ 14 h 219"/>
                <a:gd name="T38" fmla="*/ 84 w 219"/>
                <a:gd name="T39" fmla="*/ 2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5"/>
                  </a:lnTo>
                  <a:lnTo>
                    <a:pt x="182" y="26"/>
                  </a:lnTo>
                  <a:lnTo>
                    <a:pt x="202" y="51"/>
                  </a:lnTo>
                  <a:lnTo>
                    <a:pt x="216" y="80"/>
                  </a:lnTo>
                  <a:lnTo>
                    <a:pt x="219" y="115"/>
                  </a:lnTo>
                  <a:lnTo>
                    <a:pt x="211" y="149"/>
                  </a:lnTo>
                  <a:lnTo>
                    <a:pt x="193" y="178"/>
                  </a:lnTo>
                  <a:lnTo>
                    <a:pt x="167" y="201"/>
                  </a:lnTo>
                  <a:lnTo>
                    <a:pt x="136" y="213"/>
                  </a:lnTo>
                  <a:lnTo>
                    <a:pt x="101" y="219"/>
                  </a:lnTo>
                  <a:lnTo>
                    <a:pt x="69" y="210"/>
                  </a:lnTo>
                  <a:lnTo>
                    <a:pt x="38" y="193"/>
                  </a:lnTo>
                  <a:lnTo>
                    <a:pt x="17" y="167"/>
                  </a:lnTo>
                  <a:lnTo>
                    <a:pt x="3" y="135"/>
                  </a:lnTo>
                  <a:lnTo>
                    <a:pt x="0" y="100"/>
                  </a:lnTo>
                  <a:lnTo>
                    <a:pt x="9" y="66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4" y="2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3" name="Freeform 191">
              <a:extLst>
                <a:ext uri="{FF2B5EF4-FFF2-40B4-BE49-F238E27FC236}">
                  <a16:creationId xmlns:a16="http://schemas.microsoft.com/office/drawing/2014/main" id="{2470DB4E-135C-488C-AD07-CC4B42DA002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107432" y="5670938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3 w 219"/>
                <a:gd name="T3" fmla="*/ 6 h 219"/>
                <a:gd name="T4" fmla="*/ 181 w 219"/>
                <a:gd name="T5" fmla="*/ 26 h 219"/>
                <a:gd name="T6" fmla="*/ 204 w 219"/>
                <a:gd name="T7" fmla="*/ 52 h 219"/>
                <a:gd name="T8" fmla="*/ 216 w 219"/>
                <a:gd name="T9" fmla="*/ 81 h 219"/>
                <a:gd name="T10" fmla="*/ 219 w 219"/>
                <a:gd name="T11" fmla="*/ 115 h 219"/>
                <a:gd name="T12" fmla="*/ 213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8 w 219"/>
                <a:gd name="T19" fmla="*/ 213 h 219"/>
                <a:gd name="T20" fmla="*/ 104 w 219"/>
                <a:gd name="T21" fmla="*/ 219 h 219"/>
                <a:gd name="T22" fmla="*/ 69 w 219"/>
                <a:gd name="T23" fmla="*/ 210 h 219"/>
                <a:gd name="T24" fmla="*/ 40 w 219"/>
                <a:gd name="T25" fmla="*/ 190 h 219"/>
                <a:gd name="T26" fmla="*/ 17 w 219"/>
                <a:gd name="T27" fmla="*/ 164 h 219"/>
                <a:gd name="T28" fmla="*/ 3 w 219"/>
                <a:gd name="T29" fmla="*/ 136 h 219"/>
                <a:gd name="T30" fmla="*/ 0 w 219"/>
                <a:gd name="T31" fmla="*/ 101 h 219"/>
                <a:gd name="T32" fmla="*/ 8 w 219"/>
                <a:gd name="T33" fmla="*/ 66 h 219"/>
                <a:gd name="T34" fmla="*/ 26 w 219"/>
                <a:gd name="T35" fmla="*/ 38 h 219"/>
                <a:gd name="T36" fmla="*/ 52 w 219"/>
                <a:gd name="T37" fmla="*/ 14 h 219"/>
                <a:gd name="T38" fmla="*/ 83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3" y="6"/>
                  </a:lnTo>
                  <a:lnTo>
                    <a:pt x="181" y="26"/>
                  </a:lnTo>
                  <a:lnTo>
                    <a:pt x="204" y="52"/>
                  </a:lnTo>
                  <a:lnTo>
                    <a:pt x="216" y="81"/>
                  </a:lnTo>
                  <a:lnTo>
                    <a:pt x="219" y="115"/>
                  </a:lnTo>
                  <a:lnTo>
                    <a:pt x="213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8" y="213"/>
                  </a:lnTo>
                  <a:lnTo>
                    <a:pt x="104" y="219"/>
                  </a:lnTo>
                  <a:lnTo>
                    <a:pt x="69" y="210"/>
                  </a:lnTo>
                  <a:lnTo>
                    <a:pt x="40" y="190"/>
                  </a:lnTo>
                  <a:lnTo>
                    <a:pt x="17" y="164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8" y="66"/>
                  </a:lnTo>
                  <a:lnTo>
                    <a:pt x="26" y="38"/>
                  </a:lnTo>
                  <a:lnTo>
                    <a:pt x="52" y="14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4" name="Freeform 192">
              <a:extLst>
                <a:ext uri="{FF2B5EF4-FFF2-40B4-BE49-F238E27FC236}">
                  <a16:creationId xmlns:a16="http://schemas.microsoft.com/office/drawing/2014/main" id="{BE96366C-15C3-4F56-97DE-B77E2F92CEF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895416" y="5601332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50 w 216"/>
                <a:gd name="T3" fmla="*/ 8 h 219"/>
                <a:gd name="T4" fmla="*/ 179 w 216"/>
                <a:gd name="T5" fmla="*/ 25 h 219"/>
                <a:gd name="T6" fmla="*/ 202 w 216"/>
                <a:gd name="T7" fmla="*/ 51 h 219"/>
                <a:gd name="T8" fmla="*/ 213 w 216"/>
                <a:gd name="T9" fmla="*/ 83 h 219"/>
                <a:gd name="T10" fmla="*/ 216 w 216"/>
                <a:gd name="T11" fmla="*/ 118 h 219"/>
                <a:gd name="T12" fmla="*/ 210 w 216"/>
                <a:gd name="T13" fmla="*/ 149 h 219"/>
                <a:gd name="T14" fmla="*/ 190 w 216"/>
                <a:gd name="T15" fmla="*/ 181 h 219"/>
                <a:gd name="T16" fmla="*/ 167 w 216"/>
                <a:gd name="T17" fmla="*/ 204 h 219"/>
                <a:gd name="T18" fmla="*/ 135 w 216"/>
                <a:gd name="T19" fmla="*/ 216 h 219"/>
                <a:gd name="T20" fmla="*/ 101 w 216"/>
                <a:gd name="T21" fmla="*/ 219 h 219"/>
                <a:gd name="T22" fmla="*/ 66 w 216"/>
                <a:gd name="T23" fmla="*/ 210 h 219"/>
                <a:gd name="T24" fmla="*/ 37 w 216"/>
                <a:gd name="T25" fmla="*/ 193 h 219"/>
                <a:gd name="T26" fmla="*/ 14 w 216"/>
                <a:gd name="T27" fmla="*/ 167 h 219"/>
                <a:gd name="T28" fmla="*/ 3 w 216"/>
                <a:gd name="T29" fmla="*/ 138 h 219"/>
                <a:gd name="T30" fmla="*/ 0 w 216"/>
                <a:gd name="T31" fmla="*/ 103 h 219"/>
                <a:gd name="T32" fmla="*/ 6 w 216"/>
                <a:gd name="T33" fmla="*/ 69 h 219"/>
                <a:gd name="T34" fmla="*/ 26 w 216"/>
                <a:gd name="T35" fmla="*/ 40 h 219"/>
                <a:gd name="T36" fmla="*/ 49 w 216"/>
                <a:gd name="T37" fmla="*/ 17 h 219"/>
                <a:gd name="T38" fmla="*/ 81 w 216"/>
                <a:gd name="T39" fmla="*/ 2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50" y="8"/>
                  </a:lnTo>
                  <a:lnTo>
                    <a:pt x="179" y="25"/>
                  </a:lnTo>
                  <a:lnTo>
                    <a:pt x="202" y="51"/>
                  </a:lnTo>
                  <a:lnTo>
                    <a:pt x="213" y="83"/>
                  </a:lnTo>
                  <a:lnTo>
                    <a:pt x="216" y="118"/>
                  </a:lnTo>
                  <a:lnTo>
                    <a:pt x="210" y="149"/>
                  </a:lnTo>
                  <a:lnTo>
                    <a:pt x="190" y="181"/>
                  </a:lnTo>
                  <a:lnTo>
                    <a:pt x="167" y="204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6" y="210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3" y="138"/>
                  </a:lnTo>
                  <a:lnTo>
                    <a:pt x="0" y="103"/>
                  </a:lnTo>
                  <a:lnTo>
                    <a:pt x="6" y="69"/>
                  </a:lnTo>
                  <a:lnTo>
                    <a:pt x="26" y="40"/>
                  </a:lnTo>
                  <a:lnTo>
                    <a:pt x="49" y="17"/>
                  </a:lnTo>
                  <a:lnTo>
                    <a:pt x="81" y="2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5" name="Freeform 193">
              <a:extLst>
                <a:ext uri="{FF2B5EF4-FFF2-40B4-BE49-F238E27FC236}">
                  <a16:creationId xmlns:a16="http://schemas.microsoft.com/office/drawing/2014/main" id="{5B65F7EB-1208-4535-8900-FED2324C6C6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687401" y="5511726"/>
              <a:ext cx="176013" cy="175213"/>
            </a:xfrm>
            <a:custGeom>
              <a:avLst/>
              <a:gdLst>
                <a:gd name="T0" fmla="*/ 116 w 220"/>
                <a:gd name="T1" fmla="*/ 0 h 219"/>
                <a:gd name="T2" fmla="*/ 150 w 220"/>
                <a:gd name="T3" fmla="*/ 6 h 219"/>
                <a:gd name="T4" fmla="*/ 179 w 220"/>
                <a:gd name="T5" fmla="*/ 26 h 219"/>
                <a:gd name="T6" fmla="*/ 202 w 220"/>
                <a:gd name="T7" fmla="*/ 52 h 219"/>
                <a:gd name="T8" fmla="*/ 217 w 220"/>
                <a:gd name="T9" fmla="*/ 81 h 219"/>
                <a:gd name="T10" fmla="*/ 220 w 220"/>
                <a:gd name="T11" fmla="*/ 115 h 219"/>
                <a:gd name="T12" fmla="*/ 211 w 220"/>
                <a:gd name="T13" fmla="*/ 150 h 219"/>
                <a:gd name="T14" fmla="*/ 194 w 220"/>
                <a:gd name="T15" fmla="*/ 179 h 219"/>
                <a:gd name="T16" fmla="*/ 168 w 220"/>
                <a:gd name="T17" fmla="*/ 202 h 219"/>
                <a:gd name="T18" fmla="*/ 136 w 220"/>
                <a:gd name="T19" fmla="*/ 213 h 219"/>
                <a:gd name="T20" fmla="*/ 101 w 220"/>
                <a:gd name="T21" fmla="*/ 219 h 219"/>
                <a:gd name="T22" fmla="*/ 67 w 220"/>
                <a:gd name="T23" fmla="*/ 210 h 219"/>
                <a:gd name="T24" fmla="*/ 38 w 220"/>
                <a:gd name="T25" fmla="*/ 193 h 219"/>
                <a:gd name="T26" fmla="*/ 15 w 220"/>
                <a:gd name="T27" fmla="*/ 167 h 219"/>
                <a:gd name="T28" fmla="*/ 3 w 220"/>
                <a:gd name="T29" fmla="*/ 135 h 219"/>
                <a:gd name="T30" fmla="*/ 0 w 220"/>
                <a:gd name="T31" fmla="*/ 101 h 219"/>
                <a:gd name="T32" fmla="*/ 6 w 220"/>
                <a:gd name="T33" fmla="*/ 66 h 219"/>
                <a:gd name="T34" fmla="*/ 26 w 220"/>
                <a:gd name="T35" fmla="*/ 37 h 219"/>
                <a:gd name="T36" fmla="*/ 52 w 220"/>
                <a:gd name="T37" fmla="*/ 14 h 219"/>
                <a:gd name="T38" fmla="*/ 81 w 220"/>
                <a:gd name="T39" fmla="*/ 3 h 219"/>
                <a:gd name="T40" fmla="*/ 116 w 220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0" h="219">
                  <a:moveTo>
                    <a:pt x="116" y="0"/>
                  </a:moveTo>
                  <a:lnTo>
                    <a:pt x="150" y="6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7" y="81"/>
                  </a:lnTo>
                  <a:lnTo>
                    <a:pt x="220" y="115"/>
                  </a:lnTo>
                  <a:lnTo>
                    <a:pt x="211" y="150"/>
                  </a:lnTo>
                  <a:lnTo>
                    <a:pt x="194" y="179"/>
                  </a:lnTo>
                  <a:lnTo>
                    <a:pt x="168" y="202"/>
                  </a:lnTo>
                  <a:lnTo>
                    <a:pt x="136" y="213"/>
                  </a:lnTo>
                  <a:lnTo>
                    <a:pt x="101" y="219"/>
                  </a:lnTo>
                  <a:lnTo>
                    <a:pt x="67" y="210"/>
                  </a:lnTo>
                  <a:lnTo>
                    <a:pt x="38" y="193"/>
                  </a:lnTo>
                  <a:lnTo>
                    <a:pt x="15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6" y="66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1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6" name="Freeform 194">
              <a:extLst>
                <a:ext uri="{FF2B5EF4-FFF2-40B4-BE49-F238E27FC236}">
                  <a16:creationId xmlns:a16="http://schemas.microsoft.com/office/drawing/2014/main" id="{4BF87099-4610-49D9-BD9F-2C3870FCBB5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491387" y="5407718"/>
              <a:ext cx="173613" cy="175213"/>
            </a:xfrm>
            <a:custGeom>
              <a:avLst/>
              <a:gdLst>
                <a:gd name="T0" fmla="*/ 116 w 217"/>
                <a:gd name="T1" fmla="*/ 0 h 219"/>
                <a:gd name="T2" fmla="*/ 150 w 217"/>
                <a:gd name="T3" fmla="*/ 8 h 219"/>
                <a:gd name="T4" fmla="*/ 179 w 217"/>
                <a:gd name="T5" fmla="*/ 26 h 219"/>
                <a:gd name="T6" fmla="*/ 202 w 217"/>
                <a:gd name="T7" fmla="*/ 52 h 219"/>
                <a:gd name="T8" fmla="*/ 214 w 217"/>
                <a:gd name="T9" fmla="*/ 83 h 219"/>
                <a:gd name="T10" fmla="*/ 217 w 217"/>
                <a:gd name="T11" fmla="*/ 118 h 219"/>
                <a:gd name="T12" fmla="*/ 211 w 217"/>
                <a:gd name="T13" fmla="*/ 150 h 219"/>
                <a:gd name="T14" fmla="*/ 191 w 217"/>
                <a:gd name="T15" fmla="*/ 181 h 219"/>
                <a:gd name="T16" fmla="*/ 168 w 217"/>
                <a:gd name="T17" fmla="*/ 204 h 219"/>
                <a:gd name="T18" fmla="*/ 136 w 217"/>
                <a:gd name="T19" fmla="*/ 216 h 219"/>
                <a:gd name="T20" fmla="*/ 101 w 217"/>
                <a:gd name="T21" fmla="*/ 219 h 219"/>
                <a:gd name="T22" fmla="*/ 67 w 217"/>
                <a:gd name="T23" fmla="*/ 213 h 219"/>
                <a:gd name="T24" fmla="*/ 38 w 217"/>
                <a:gd name="T25" fmla="*/ 193 h 219"/>
                <a:gd name="T26" fmla="*/ 15 w 217"/>
                <a:gd name="T27" fmla="*/ 167 h 219"/>
                <a:gd name="T28" fmla="*/ 3 w 217"/>
                <a:gd name="T29" fmla="*/ 138 h 219"/>
                <a:gd name="T30" fmla="*/ 0 w 217"/>
                <a:gd name="T31" fmla="*/ 103 h 219"/>
                <a:gd name="T32" fmla="*/ 6 w 217"/>
                <a:gd name="T33" fmla="*/ 69 h 219"/>
                <a:gd name="T34" fmla="*/ 23 w 217"/>
                <a:gd name="T35" fmla="*/ 40 h 219"/>
                <a:gd name="T36" fmla="*/ 49 w 217"/>
                <a:gd name="T37" fmla="*/ 17 h 219"/>
                <a:gd name="T38" fmla="*/ 81 w 217"/>
                <a:gd name="T39" fmla="*/ 5 h 219"/>
                <a:gd name="T40" fmla="*/ 116 w 217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7" h="219">
                  <a:moveTo>
                    <a:pt x="116" y="0"/>
                  </a:moveTo>
                  <a:lnTo>
                    <a:pt x="150" y="8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4" y="83"/>
                  </a:lnTo>
                  <a:lnTo>
                    <a:pt x="217" y="118"/>
                  </a:lnTo>
                  <a:lnTo>
                    <a:pt x="211" y="150"/>
                  </a:lnTo>
                  <a:lnTo>
                    <a:pt x="191" y="181"/>
                  </a:lnTo>
                  <a:lnTo>
                    <a:pt x="168" y="204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7" y="213"/>
                  </a:lnTo>
                  <a:lnTo>
                    <a:pt x="38" y="193"/>
                  </a:lnTo>
                  <a:lnTo>
                    <a:pt x="15" y="167"/>
                  </a:lnTo>
                  <a:lnTo>
                    <a:pt x="3" y="138"/>
                  </a:lnTo>
                  <a:lnTo>
                    <a:pt x="0" y="103"/>
                  </a:lnTo>
                  <a:lnTo>
                    <a:pt x="6" y="69"/>
                  </a:lnTo>
                  <a:lnTo>
                    <a:pt x="23" y="40"/>
                  </a:lnTo>
                  <a:lnTo>
                    <a:pt x="49" y="17"/>
                  </a:lnTo>
                  <a:lnTo>
                    <a:pt x="81" y="5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7" name="Freeform 195">
              <a:extLst>
                <a:ext uri="{FF2B5EF4-FFF2-40B4-BE49-F238E27FC236}">
                  <a16:creationId xmlns:a16="http://schemas.microsoft.com/office/drawing/2014/main" id="{605B138E-AFA5-48F7-973C-208EFB27507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302573" y="5286109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0 w 219"/>
                <a:gd name="T3" fmla="*/ 9 h 219"/>
                <a:gd name="T4" fmla="*/ 182 w 219"/>
                <a:gd name="T5" fmla="*/ 26 h 219"/>
                <a:gd name="T6" fmla="*/ 202 w 219"/>
                <a:gd name="T7" fmla="*/ 52 h 219"/>
                <a:gd name="T8" fmla="*/ 216 w 219"/>
                <a:gd name="T9" fmla="*/ 84 h 219"/>
                <a:gd name="T10" fmla="*/ 219 w 219"/>
                <a:gd name="T11" fmla="*/ 116 h 219"/>
                <a:gd name="T12" fmla="*/ 210 w 219"/>
                <a:gd name="T13" fmla="*/ 150 h 219"/>
                <a:gd name="T14" fmla="*/ 193 w 219"/>
                <a:gd name="T15" fmla="*/ 182 h 219"/>
                <a:gd name="T16" fmla="*/ 167 w 219"/>
                <a:gd name="T17" fmla="*/ 202 h 219"/>
                <a:gd name="T18" fmla="*/ 135 w 219"/>
                <a:gd name="T19" fmla="*/ 217 h 219"/>
                <a:gd name="T20" fmla="*/ 104 w 219"/>
                <a:gd name="T21" fmla="*/ 219 h 219"/>
                <a:gd name="T22" fmla="*/ 69 w 219"/>
                <a:gd name="T23" fmla="*/ 211 h 219"/>
                <a:gd name="T24" fmla="*/ 37 w 219"/>
                <a:gd name="T25" fmla="*/ 194 h 219"/>
                <a:gd name="T26" fmla="*/ 17 w 219"/>
                <a:gd name="T27" fmla="*/ 168 h 219"/>
                <a:gd name="T28" fmla="*/ 3 w 219"/>
                <a:gd name="T29" fmla="*/ 136 h 219"/>
                <a:gd name="T30" fmla="*/ 0 w 219"/>
                <a:gd name="T31" fmla="*/ 104 h 219"/>
                <a:gd name="T32" fmla="*/ 9 w 219"/>
                <a:gd name="T33" fmla="*/ 70 h 219"/>
                <a:gd name="T34" fmla="*/ 26 w 219"/>
                <a:gd name="T35" fmla="*/ 38 h 219"/>
                <a:gd name="T36" fmla="*/ 52 w 219"/>
                <a:gd name="T37" fmla="*/ 18 h 219"/>
                <a:gd name="T38" fmla="*/ 83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0" y="9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4"/>
                  </a:lnTo>
                  <a:lnTo>
                    <a:pt x="219" y="116"/>
                  </a:lnTo>
                  <a:lnTo>
                    <a:pt x="210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5" y="217"/>
                  </a:lnTo>
                  <a:lnTo>
                    <a:pt x="104" y="219"/>
                  </a:lnTo>
                  <a:lnTo>
                    <a:pt x="69" y="211"/>
                  </a:lnTo>
                  <a:lnTo>
                    <a:pt x="37" y="194"/>
                  </a:lnTo>
                  <a:lnTo>
                    <a:pt x="17" y="168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9" y="70"/>
                  </a:lnTo>
                  <a:lnTo>
                    <a:pt x="26" y="38"/>
                  </a:lnTo>
                  <a:lnTo>
                    <a:pt x="52" y="18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8" name="Freeform 196">
              <a:extLst>
                <a:ext uri="{FF2B5EF4-FFF2-40B4-BE49-F238E27FC236}">
                  <a16:creationId xmlns:a16="http://schemas.microsoft.com/office/drawing/2014/main" id="{3851825A-1824-4C77-B055-EE8F40B91D5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124960" y="5150100"/>
              <a:ext cx="175213" cy="172813"/>
            </a:xfrm>
            <a:custGeom>
              <a:avLst/>
              <a:gdLst>
                <a:gd name="T0" fmla="*/ 118 w 219"/>
                <a:gd name="T1" fmla="*/ 0 h 216"/>
                <a:gd name="T2" fmla="*/ 150 w 219"/>
                <a:gd name="T3" fmla="*/ 6 h 216"/>
                <a:gd name="T4" fmla="*/ 181 w 219"/>
                <a:gd name="T5" fmla="*/ 26 h 216"/>
                <a:gd name="T6" fmla="*/ 202 w 219"/>
                <a:gd name="T7" fmla="*/ 49 h 216"/>
                <a:gd name="T8" fmla="*/ 216 w 219"/>
                <a:gd name="T9" fmla="*/ 81 h 216"/>
                <a:gd name="T10" fmla="*/ 219 w 219"/>
                <a:gd name="T11" fmla="*/ 116 h 216"/>
                <a:gd name="T12" fmla="*/ 210 w 219"/>
                <a:gd name="T13" fmla="*/ 150 h 216"/>
                <a:gd name="T14" fmla="*/ 193 w 219"/>
                <a:gd name="T15" fmla="*/ 179 h 216"/>
                <a:gd name="T16" fmla="*/ 167 w 219"/>
                <a:gd name="T17" fmla="*/ 202 h 216"/>
                <a:gd name="T18" fmla="*/ 135 w 219"/>
                <a:gd name="T19" fmla="*/ 214 h 216"/>
                <a:gd name="T20" fmla="*/ 104 w 219"/>
                <a:gd name="T21" fmla="*/ 216 h 216"/>
                <a:gd name="T22" fmla="*/ 69 w 219"/>
                <a:gd name="T23" fmla="*/ 211 h 216"/>
                <a:gd name="T24" fmla="*/ 40 w 219"/>
                <a:gd name="T25" fmla="*/ 191 h 216"/>
                <a:gd name="T26" fmla="*/ 17 w 219"/>
                <a:gd name="T27" fmla="*/ 167 h 216"/>
                <a:gd name="T28" fmla="*/ 3 w 219"/>
                <a:gd name="T29" fmla="*/ 136 h 216"/>
                <a:gd name="T30" fmla="*/ 0 w 219"/>
                <a:gd name="T31" fmla="*/ 101 h 216"/>
                <a:gd name="T32" fmla="*/ 9 w 219"/>
                <a:gd name="T33" fmla="*/ 67 h 216"/>
                <a:gd name="T34" fmla="*/ 26 w 219"/>
                <a:gd name="T35" fmla="*/ 38 h 216"/>
                <a:gd name="T36" fmla="*/ 52 w 219"/>
                <a:gd name="T37" fmla="*/ 15 h 216"/>
                <a:gd name="T38" fmla="*/ 83 w 219"/>
                <a:gd name="T39" fmla="*/ 3 h 216"/>
                <a:gd name="T40" fmla="*/ 118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8" y="0"/>
                  </a:moveTo>
                  <a:lnTo>
                    <a:pt x="150" y="6"/>
                  </a:lnTo>
                  <a:lnTo>
                    <a:pt x="181" y="26"/>
                  </a:lnTo>
                  <a:lnTo>
                    <a:pt x="202" y="49"/>
                  </a:lnTo>
                  <a:lnTo>
                    <a:pt x="216" y="81"/>
                  </a:lnTo>
                  <a:lnTo>
                    <a:pt x="219" y="116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4"/>
                  </a:lnTo>
                  <a:lnTo>
                    <a:pt x="104" y="216"/>
                  </a:lnTo>
                  <a:lnTo>
                    <a:pt x="69" y="211"/>
                  </a:lnTo>
                  <a:lnTo>
                    <a:pt x="40" y="191"/>
                  </a:lnTo>
                  <a:lnTo>
                    <a:pt x="17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9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9" name="Freeform 197">
              <a:extLst>
                <a:ext uri="{FF2B5EF4-FFF2-40B4-BE49-F238E27FC236}">
                  <a16:creationId xmlns:a16="http://schemas.microsoft.com/office/drawing/2014/main" id="{BA6C9BB6-E20C-4090-8258-CF3A15F2074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806537" y="4834077"/>
              <a:ext cx="175213" cy="172813"/>
            </a:xfrm>
            <a:custGeom>
              <a:avLst/>
              <a:gdLst>
                <a:gd name="T0" fmla="*/ 115 w 219"/>
                <a:gd name="T1" fmla="*/ 0 h 216"/>
                <a:gd name="T2" fmla="*/ 150 w 219"/>
                <a:gd name="T3" fmla="*/ 6 h 216"/>
                <a:gd name="T4" fmla="*/ 178 w 219"/>
                <a:gd name="T5" fmla="*/ 26 h 216"/>
                <a:gd name="T6" fmla="*/ 202 w 219"/>
                <a:gd name="T7" fmla="*/ 49 h 216"/>
                <a:gd name="T8" fmla="*/ 216 w 219"/>
                <a:gd name="T9" fmla="*/ 81 h 216"/>
                <a:gd name="T10" fmla="*/ 219 w 219"/>
                <a:gd name="T11" fmla="*/ 115 h 216"/>
                <a:gd name="T12" fmla="*/ 210 w 219"/>
                <a:gd name="T13" fmla="*/ 150 h 216"/>
                <a:gd name="T14" fmla="*/ 193 w 219"/>
                <a:gd name="T15" fmla="*/ 179 h 216"/>
                <a:gd name="T16" fmla="*/ 167 w 219"/>
                <a:gd name="T17" fmla="*/ 202 h 216"/>
                <a:gd name="T18" fmla="*/ 135 w 219"/>
                <a:gd name="T19" fmla="*/ 213 h 216"/>
                <a:gd name="T20" fmla="*/ 101 w 219"/>
                <a:gd name="T21" fmla="*/ 216 h 216"/>
                <a:gd name="T22" fmla="*/ 69 w 219"/>
                <a:gd name="T23" fmla="*/ 211 h 216"/>
                <a:gd name="T24" fmla="*/ 37 w 219"/>
                <a:gd name="T25" fmla="*/ 190 h 216"/>
                <a:gd name="T26" fmla="*/ 17 w 219"/>
                <a:gd name="T27" fmla="*/ 167 h 216"/>
                <a:gd name="T28" fmla="*/ 3 w 219"/>
                <a:gd name="T29" fmla="*/ 136 h 216"/>
                <a:gd name="T30" fmla="*/ 0 w 219"/>
                <a:gd name="T31" fmla="*/ 101 h 216"/>
                <a:gd name="T32" fmla="*/ 5 w 219"/>
                <a:gd name="T33" fmla="*/ 66 h 216"/>
                <a:gd name="T34" fmla="*/ 26 w 219"/>
                <a:gd name="T35" fmla="*/ 38 h 216"/>
                <a:gd name="T36" fmla="*/ 52 w 219"/>
                <a:gd name="T37" fmla="*/ 15 h 216"/>
                <a:gd name="T38" fmla="*/ 80 w 219"/>
                <a:gd name="T39" fmla="*/ 3 h 216"/>
                <a:gd name="T40" fmla="*/ 115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5" y="0"/>
                  </a:moveTo>
                  <a:lnTo>
                    <a:pt x="150" y="6"/>
                  </a:lnTo>
                  <a:lnTo>
                    <a:pt x="178" y="26"/>
                  </a:lnTo>
                  <a:lnTo>
                    <a:pt x="202" y="49"/>
                  </a:lnTo>
                  <a:lnTo>
                    <a:pt x="216" y="81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3"/>
                  </a:lnTo>
                  <a:lnTo>
                    <a:pt x="101" y="216"/>
                  </a:lnTo>
                  <a:lnTo>
                    <a:pt x="69" y="211"/>
                  </a:lnTo>
                  <a:lnTo>
                    <a:pt x="37" y="190"/>
                  </a:lnTo>
                  <a:lnTo>
                    <a:pt x="17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5" y="66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0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0" name="Freeform 198">
              <a:extLst>
                <a:ext uri="{FF2B5EF4-FFF2-40B4-BE49-F238E27FC236}">
                  <a16:creationId xmlns:a16="http://schemas.microsoft.com/office/drawing/2014/main" id="{A7857CF9-8E1E-421B-ACDC-ED0CC298257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702529" y="4688466"/>
              <a:ext cx="108808" cy="110408"/>
            </a:xfrm>
            <a:custGeom>
              <a:avLst/>
              <a:gdLst>
                <a:gd name="T0" fmla="*/ 66 w 136"/>
                <a:gd name="T1" fmla="*/ 0 h 138"/>
                <a:gd name="T2" fmla="*/ 92 w 136"/>
                <a:gd name="T3" fmla="*/ 5 h 138"/>
                <a:gd name="T4" fmla="*/ 115 w 136"/>
                <a:gd name="T5" fmla="*/ 20 h 138"/>
                <a:gd name="T6" fmla="*/ 130 w 136"/>
                <a:gd name="T7" fmla="*/ 43 h 138"/>
                <a:gd name="T8" fmla="*/ 136 w 136"/>
                <a:gd name="T9" fmla="*/ 69 h 138"/>
                <a:gd name="T10" fmla="*/ 130 w 136"/>
                <a:gd name="T11" fmla="*/ 95 h 138"/>
                <a:gd name="T12" fmla="*/ 115 w 136"/>
                <a:gd name="T13" fmla="*/ 118 h 138"/>
                <a:gd name="T14" fmla="*/ 95 w 136"/>
                <a:gd name="T15" fmla="*/ 132 h 138"/>
                <a:gd name="T16" fmla="*/ 69 w 136"/>
                <a:gd name="T17" fmla="*/ 138 h 138"/>
                <a:gd name="T18" fmla="*/ 43 w 136"/>
                <a:gd name="T19" fmla="*/ 132 h 138"/>
                <a:gd name="T20" fmla="*/ 20 w 136"/>
                <a:gd name="T21" fmla="*/ 118 h 138"/>
                <a:gd name="T22" fmla="*/ 6 w 136"/>
                <a:gd name="T23" fmla="*/ 95 h 138"/>
                <a:gd name="T24" fmla="*/ 0 w 136"/>
                <a:gd name="T25" fmla="*/ 69 h 138"/>
                <a:gd name="T26" fmla="*/ 3 w 136"/>
                <a:gd name="T27" fmla="*/ 43 h 138"/>
                <a:gd name="T28" fmla="*/ 20 w 136"/>
                <a:gd name="T29" fmla="*/ 20 h 138"/>
                <a:gd name="T30" fmla="*/ 40 w 136"/>
                <a:gd name="T31" fmla="*/ 5 h 138"/>
                <a:gd name="T32" fmla="*/ 66 w 136"/>
                <a:gd name="T3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8">
                  <a:moveTo>
                    <a:pt x="66" y="0"/>
                  </a:moveTo>
                  <a:lnTo>
                    <a:pt x="92" y="5"/>
                  </a:lnTo>
                  <a:lnTo>
                    <a:pt x="115" y="20"/>
                  </a:lnTo>
                  <a:lnTo>
                    <a:pt x="130" y="43"/>
                  </a:lnTo>
                  <a:lnTo>
                    <a:pt x="136" y="69"/>
                  </a:lnTo>
                  <a:lnTo>
                    <a:pt x="130" y="95"/>
                  </a:lnTo>
                  <a:lnTo>
                    <a:pt x="115" y="118"/>
                  </a:lnTo>
                  <a:lnTo>
                    <a:pt x="95" y="132"/>
                  </a:lnTo>
                  <a:lnTo>
                    <a:pt x="69" y="138"/>
                  </a:lnTo>
                  <a:lnTo>
                    <a:pt x="43" y="132"/>
                  </a:lnTo>
                  <a:lnTo>
                    <a:pt x="20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3" y="43"/>
                  </a:lnTo>
                  <a:lnTo>
                    <a:pt x="20" y="20"/>
                  </a:lnTo>
                  <a:lnTo>
                    <a:pt x="40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1" name="Freeform 199">
              <a:extLst>
                <a:ext uri="{FF2B5EF4-FFF2-40B4-BE49-F238E27FC236}">
                  <a16:creationId xmlns:a16="http://schemas.microsoft.com/office/drawing/2014/main" id="{E75E01CB-9829-45FA-BC6E-2A834812D4B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545718" y="4469250"/>
              <a:ext cx="176013" cy="175213"/>
            </a:xfrm>
            <a:custGeom>
              <a:avLst/>
              <a:gdLst>
                <a:gd name="T0" fmla="*/ 116 w 220"/>
                <a:gd name="T1" fmla="*/ 0 h 219"/>
                <a:gd name="T2" fmla="*/ 150 w 220"/>
                <a:gd name="T3" fmla="*/ 8 h 219"/>
                <a:gd name="T4" fmla="*/ 179 w 220"/>
                <a:gd name="T5" fmla="*/ 28 h 219"/>
                <a:gd name="T6" fmla="*/ 202 w 220"/>
                <a:gd name="T7" fmla="*/ 54 h 219"/>
                <a:gd name="T8" fmla="*/ 214 w 220"/>
                <a:gd name="T9" fmla="*/ 83 h 219"/>
                <a:gd name="T10" fmla="*/ 220 w 220"/>
                <a:gd name="T11" fmla="*/ 118 h 219"/>
                <a:gd name="T12" fmla="*/ 211 w 220"/>
                <a:gd name="T13" fmla="*/ 152 h 219"/>
                <a:gd name="T14" fmla="*/ 194 w 220"/>
                <a:gd name="T15" fmla="*/ 181 h 219"/>
                <a:gd name="T16" fmla="*/ 168 w 220"/>
                <a:gd name="T17" fmla="*/ 204 h 219"/>
                <a:gd name="T18" fmla="*/ 136 w 220"/>
                <a:gd name="T19" fmla="*/ 216 h 219"/>
                <a:gd name="T20" fmla="*/ 101 w 220"/>
                <a:gd name="T21" fmla="*/ 219 h 219"/>
                <a:gd name="T22" fmla="*/ 67 w 220"/>
                <a:gd name="T23" fmla="*/ 213 h 219"/>
                <a:gd name="T24" fmla="*/ 38 w 220"/>
                <a:gd name="T25" fmla="*/ 193 h 219"/>
                <a:gd name="T26" fmla="*/ 15 w 220"/>
                <a:gd name="T27" fmla="*/ 167 h 219"/>
                <a:gd name="T28" fmla="*/ 3 w 220"/>
                <a:gd name="T29" fmla="*/ 138 h 219"/>
                <a:gd name="T30" fmla="*/ 0 w 220"/>
                <a:gd name="T31" fmla="*/ 103 h 219"/>
                <a:gd name="T32" fmla="*/ 6 w 220"/>
                <a:gd name="T33" fmla="*/ 69 h 219"/>
                <a:gd name="T34" fmla="*/ 26 w 220"/>
                <a:gd name="T35" fmla="*/ 40 h 219"/>
                <a:gd name="T36" fmla="*/ 52 w 220"/>
                <a:gd name="T37" fmla="*/ 17 h 219"/>
                <a:gd name="T38" fmla="*/ 81 w 220"/>
                <a:gd name="T39" fmla="*/ 5 h 219"/>
                <a:gd name="T40" fmla="*/ 116 w 220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0" h="219">
                  <a:moveTo>
                    <a:pt x="116" y="0"/>
                  </a:moveTo>
                  <a:lnTo>
                    <a:pt x="150" y="8"/>
                  </a:lnTo>
                  <a:lnTo>
                    <a:pt x="179" y="28"/>
                  </a:lnTo>
                  <a:lnTo>
                    <a:pt x="202" y="54"/>
                  </a:lnTo>
                  <a:lnTo>
                    <a:pt x="214" y="83"/>
                  </a:lnTo>
                  <a:lnTo>
                    <a:pt x="220" y="118"/>
                  </a:lnTo>
                  <a:lnTo>
                    <a:pt x="211" y="152"/>
                  </a:lnTo>
                  <a:lnTo>
                    <a:pt x="194" y="181"/>
                  </a:lnTo>
                  <a:lnTo>
                    <a:pt x="168" y="204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7" y="213"/>
                  </a:lnTo>
                  <a:lnTo>
                    <a:pt x="38" y="193"/>
                  </a:lnTo>
                  <a:lnTo>
                    <a:pt x="15" y="167"/>
                  </a:lnTo>
                  <a:lnTo>
                    <a:pt x="3" y="138"/>
                  </a:lnTo>
                  <a:lnTo>
                    <a:pt x="0" y="103"/>
                  </a:lnTo>
                  <a:lnTo>
                    <a:pt x="6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1" y="5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2" name="Freeform 200">
              <a:extLst>
                <a:ext uri="{FF2B5EF4-FFF2-40B4-BE49-F238E27FC236}">
                  <a16:creationId xmlns:a16="http://schemas.microsoft.com/office/drawing/2014/main" id="{54690607-A862-4ADB-AADB-3D38541AE35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440110" y="4270836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8 h 219"/>
                <a:gd name="T4" fmla="*/ 179 w 219"/>
                <a:gd name="T5" fmla="*/ 25 h 219"/>
                <a:gd name="T6" fmla="*/ 202 w 219"/>
                <a:gd name="T7" fmla="*/ 51 h 219"/>
                <a:gd name="T8" fmla="*/ 216 w 219"/>
                <a:gd name="T9" fmla="*/ 83 h 219"/>
                <a:gd name="T10" fmla="*/ 219 w 219"/>
                <a:gd name="T11" fmla="*/ 115 h 219"/>
                <a:gd name="T12" fmla="*/ 211 w 219"/>
                <a:gd name="T13" fmla="*/ 149 h 219"/>
                <a:gd name="T14" fmla="*/ 193 w 219"/>
                <a:gd name="T15" fmla="*/ 181 h 219"/>
                <a:gd name="T16" fmla="*/ 167 w 219"/>
                <a:gd name="T17" fmla="*/ 201 h 219"/>
                <a:gd name="T18" fmla="*/ 136 w 219"/>
                <a:gd name="T19" fmla="*/ 216 h 219"/>
                <a:gd name="T20" fmla="*/ 101 w 219"/>
                <a:gd name="T21" fmla="*/ 219 h 219"/>
                <a:gd name="T22" fmla="*/ 69 w 219"/>
                <a:gd name="T23" fmla="*/ 210 h 219"/>
                <a:gd name="T24" fmla="*/ 38 w 219"/>
                <a:gd name="T25" fmla="*/ 193 h 219"/>
                <a:gd name="T26" fmla="*/ 14 w 219"/>
                <a:gd name="T27" fmla="*/ 167 h 219"/>
                <a:gd name="T28" fmla="*/ 3 w 219"/>
                <a:gd name="T29" fmla="*/ 135 h 219"/>
                <a:gd name="T30" fmla="*/ 0 w 219"/>
                <a:gd name="T31" fmla="*/ 100 h 219"/>
                <a:gd name="T32" fmla="*/ 9 w 219"/>
                <a:gd name="T33" fmla="*/ 69 h 219"/>
                <a:gd name="T34" fmla="*/ 26 w 219"/>
                <a:gd name="T35" fmla="*/ 37 h 219"/>
                <a:gd name="T36" fmla="*/ 52 w 219"/>
                <a:gd name="T37" fmla="*/ 17 h 219"/>
                <a:gd name="T38" fmla="*/ 81 w 219"/>
                <a:gd name="T39" fmla="*/ 2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8"/>
                  </a:lnTo>
                  <a:lnTo>
                    <a:pt x="179" y="25"/>
                  </a:lnTo>
                  <a:lnTo>
                    <a:pt x="202" y="51"/>
                  </a:lnTo>
                  <a:lnTo>
                    <a:pt x="216" y="83"/>
                  </a:lnTo>
                  <a:lnTo>
                    <a:pt x="219" y="115"/>
                  </a:lnTo>
                  <a:lnTo>
                    <a:pt x="211" y="149"/>
                  </a:lnTo>
                  <a:lnTo>
                    <a:pt x="193" y="181"/>
                  </a:lnTo>
                  <a:lnTo>
                    <a:pt x="167" y="201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9" y="210"/>
                  </a:lnTo>
                  <a:lnTo>
                    <a:pt x="38" y="193"/>
                  </a:lnTo>
                  <a:lnTo>
                    <a:pt x="14" y="167"/>
                  </a:lnTo>
                  <a:lnTo>
                    <a:pt x="3" y="135"/>
                  </a:lnTo>
                  <a:lnTo>
                    <a:pt x="0" y="100"/>
                  </a:lnTo>
                  <a:lnTo>
                    <a:pt x="9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1" y="2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3" name="Freeform 201">
              <a:extLst>
                <a:ext uri="{FF2B5EF4-FFF2-40B4-BE49-F238E27FC236}">
                  <a16:creationId xmlns:a16="http://schemas.microsoft.com/office/drawing/2014/main" id="{9961F703-1586-4895-BF3B-816298ED3C4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352104" y="4066021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49 w 216"/>
                <a:gd name="T3" fmla="*/ 9 h 219"/>
                <a:gd name="T4" fmla="*/ 178 w 216"/>
                <a:gd name="T5" fmla="*/ 26 h 219"/>
                <a:gd name="T6" fmla="*/ 201 w 216"/>
                <a:gd name="T7" fmla="*/ 52 h 219"/>
                <a:gd name="T8" fmla="*/ 213 w 216"/>
                <a:gd name="T9" fmla="*/ 84 h 219"/>
                <a:gd name="T10" fmla="*/ 216 w 216"/>
                <a:gd name="T11" fmla="*/ 115 h 219"/>
                <a:gd name="T12" fmla="*/ 210 w 216"/>
                <a:gd name="T13" fmla="*/ 150 h 219"/>
                <a:gd name="T14" fmla="*/ 193 w 216"/>
                <a:gd name="T15" fmla="*/ 182 h 219"/>
                <a:gd name="T16" fmla="*/ 167 w 216"/>
                <a:gd name="T17" fmla="*/ 202 h 219"/>
                <a:gd name="T18" fmla="*/ 135 w 216"/>
                <a:gd name="T19" fmla="*/ 216 h 219"/>
                <a:gd name="T20" fmla="*/ 100 w 216"/>
                <a:gd name="T21" fmla="*/ 219 h 219"/>
                <a:gd name="T22" fmla="*/ 66 w 216"/>
                <a:gd name="T23" fmla="*/ 210 h 219"/>
                <a:gd name="T24" fmla="*/ 37 w 216"/>
                <a:gd name="T25" fmla="*/ 193 h 219"/>
                <a:gd name="T26" fmla="*/ 14 w 216"/>
                <a:gd name="T27" fmla="*/ 167 h 219"/>
                <a:gd name="T28" fmla="*/ 2 w 216"/>
                <a:gd name="T29" fmla="*/ 136 h 219"/>
                <a:gd name="T30" fmla="*/ 0 w 216"/>
                <a:gd name="T31" fmla="*/ 101 h 219"/>
                <a:gd name="T32" fmla="*/ 5 w 216"/>
                <a:gd name="T33" fmla="*/ 69 h 219"/>
                <a:gd name="T34" fmla="*/ 25 w 216"/>
                <a:gd name="T35" fmla="*/ 38 h 219"/>
                <a:gd name="T36" fmla="*/ 51 w 216"/>
                <a:gd name="T37" fmla="*/ 17 h 219"/>
                <a:gd name="T38" fmla="*/ 80 w 216"/>
                <a:gd name="T39" fmla="*/ 3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49" y="9"/>
                  </a:lnTo>
                  <a:lnTo>
                    <a:pt x="178" y="26"/>
                  </a:lnTo>
                  <a:lnTo>
                    <a:pt x="201" y="52"/>
                  </a:lnTo>
                  <a:lnTo>
                    <a:pt x="213" y="84"/>
                  </a:lnTo>
                  <a:lnTo>
                    <a:pt x="216" y="115"/>
                  </a:lnTo>
                  <a:lnTo>
                    <a:pt x="210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5" y="216"/>
                  </a:lnTo>
                  <a:lnTo>
                    <a:pt x="100" y="219"/>
                  </a:lnTo>
                  <a:lnTo>
                    <a:pt x="66" y="210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2" y="136"/>
                  </a:lnTo>
                  <a:lnTo>
                    <a:pt x="0" y="101"/>
                  </a:lnTo>
                  <a:lnTo>
                    <a:pt x="5" y="69"/>
                  </a:lnTo>
                  <a:lnTo>
                    <a:pt x="25" y="38"/>
                  </a:lnTo>
                  <a:lnTo>
                    <a:pt x="51" y="17"/>
                  </a:lnTo>
                  <a:lnTo>
                    <a:pt x="80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4" name="Freeform 202">
              <a:extLst>
                <a:ext uri="{FF2B5EF4-FFF2-40B4-BE49-F238E27FC236}">
                  <a16:creationId xmlns:a16="http://schemas.microsoft.com/office/drawing/2014/main" id="{45925023-5E53-4FFE-A5F7-F6BA854A0B1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225695" y="3637189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0 w 219"/>
                <a:gd name="T3" fmla="*/ 9 h 219"/>
                <a:gd name="T4" fmla="*/ 182 w 219"/>
                <a:gd name="T5" fmla="*/ 26 h 219"/>
                <a:gd name="T6" fmla="*/ 202 w 219"/>
                <a:gd name="T7" fmla="*/ 52 h 219"/>
                <a:gd name="T8" fmla="*/ 216 w 219"/>
                <a:gd name="T9" fmla="*/ 84 h 219"/>
                <a:gd name="T10" fmla="*/ 219 w 219"/>
                <a:gd name="T11" fmla="*/ 118 h 219"/>
                <a:gd name="T12" fmla="*/ 211 w 219"/>
                <a:gd name="T13" fmla="*/ 153 h 219"/>
                <a:gd name="T14" fmla="*/ 193 w 219"/>
                <a:gd name="T15" fmla="*/ 182 h 219"/>
                <a:gd name="T16" fmla="*/ 167 w 219"/>
                <a:gd name="T17" fmla="*/ 205 h 219"/>
                <a:gd name="T18" fmla="*/ 136 w 219"/>
                <a:gd name="T19" fmla="*/ 216 h 219"/>
                <a:gd name="T20" fmla="*/ 104 w 219"/>
                <a:gd name="T21" fmla="*/ 219 h 219"/>
                <a:gd name="T22" fmla="*/ 69 w 219"/>
                <a:gd name="T23" fmla="*/ 211 h 219"/>
                <a:gd name="T24" fmla="*/ 41 w 219"/>
                <a:gd name="T25" fmla="*/ 193 h 219"/>
                <a:gd name="T26" fmla="*/ 17 w 219"/>
                <a:gd name="T27" fmla="*/ 167 h 219"/>
                <a:gd name="T28" fmla="*/ 3 w 219"/>
                <a:gd name="T29" fmla="*/ 138 h 219"/>
                <a:gd name="T30" fmla="*/ 0 w 219"/>
                <a:gd name="T31" fmla="*/ 104 h 219"/>
                <a:gd name="T32" fmla="*/ 9 w 219"/>
                <a:gd name="T33" fmla="*/ 69 h 219"/>
                <a:gd name="T34" fmla="*/ 26 w 219"/>
                <a:gd name="T35" fmla="*/ 40 h 219"/>
                <a:gd name="T36" fmla="*/ 52 w 219"/>
                <a:gd name="T37" fmla="*/ 17 h 219"/>
                <a:gd name="T38" fmla="*/ 84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0" y="9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4"/>
                  </a:lnTo>
                  <a:lnTo>
                    <a:pt x="219" y="118"/>
                  </a:lnTo>
                  <a:lnTo>
                    <a:pt x="211" y="153"/>
                  </a:lnTo>
                  <a:lnTo>
                    <a:pt x="193" y="182"/>
                  </a:lnTo>
                  <a:lnTo>
                    <a:pt x="167" y="205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69" y="211"/>
                  </a:lnTo>
                  <a:lnTo>
                    <a:pt x="41" y="193"/>
                  </a:lnTo>
                  <a:lnTo>
                    <a:pt x="17" y="167"/>
                  </a:lnTo>
                  <a:lnTo>
                    <a:pt x="3" y="138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4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5" name="Freeform 203">
              <a:extLst>
                <a:ext uri="{FF2B5EF4-FFF2-40B4-BE49-F238E27FC236}">
                  <a16:creationId xmlns:a16="http://schemas.microsoft.com/office/drawing/2014/main" id="{B45F8118-BFE1-4D6E-AD3F-60E867CDF2B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188892" y="3415573"/>
              <a:ext cx="175213" cy="175213"/>
            </a:xfrm>
            <a:custGeom>
              <a:avLst/>
              <a:gdLst>
                <a:gd name="T0" fmla="*/ 116 w 219"/>
                <a:gd name="T1" fmla="*/ 0 h 219"/>
                <a:gd name="T2" fmla="*/ 150 w 219"/>
                <a:gd name="T3" fmla="*/ 8 h 219"/>
                <a:gd name="T4" fmla="*/ 179 w 219"/>
                <a:gd name="T5" fmla="*/ 26 h 219"/>
                <a:gd name="T6" fmla="*/ 202 w 219"/>
                <a:gd name="T7" fmla="*/ 52 h 219"/>
                <a:gd name="T8" fmla="*/ 214 w 219"/>
                <a:gd name="T9" fmla="*/ 83 h 219"/>
                <a:gd name="T10" fmla="*/ 219 w 219"/>
                <a:gd name="T11" fmla="*/ 118 h 219"/>
                <a:gd name="T12" fmla="*/ 211 w 219"/>
                <a:gd name="T13" fmla="*/ 150 h 219"/>
                <a:gd name="T14" fmla="*/ 191 w 219"/>
                <a:gd name="T15" fmla="*/ 181 h 219"/>
                <a:gd name="T16" fmla="*/ 168 w 219"/>
                <a:gd name="T17" fmla="*/ 204 h 219"/>
                <a:gd name="T18" fmla="*/ 136 w 219"/>
                <a:gd name="T19" fmla="*/ 216 h 219"/>
                <a:gd name="T20" fmla="*/ 101 w 219"/>
                <a:gd name="T21" fmla="*/ 219 h 219"/>
                <a:gd name="T22" fmla="*/ 67 w 219"/>
                <a:gd name="T23" fmla="*/ 213 h 219"/>
                <a:gd name="T24" fmla="*/ 38 w 219"/>
                <a:gd name="T25" fmla="*/ 193 h 219"/>
                <a:gd name="T26" fmla="*/ 15 w 219"/>
                <a:gd name="T27" fmla="*/ 167 h 219"/>
                <a:gd name="T28" fmla="*/ 3 w 219"/>
                <a:gd name="T29" fmla="*/ 135 h 219"/>
                <a:gd name="T30" fmla="*/ 0 w 219"/>
                <a:gd name="T31" fmla="*/ 104 h 219"/>
                <a:gd name="T32" fmla="*/ 9 w 219"/>
                <a:gd name="T33" fmla="*/ 69 h 219"/>
                <a:gd name="T34" fmla="*/ 26 w 219"/>
                <a:gd name="T35" fmla="*/ 40 h 219"/>
                <a:gd name="T36" fmla="*/ 52 w 219"/>
                <a:gd name="T37" fmla="*/ 17 h 219"/>
                <a:gd name="T38" fmla="*/ 81 w 219"/>
                <a:gd name="T39" fmla="*/ 3 h 219"/>
                <a:gd name="T40" fmla="*/ 116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6" y="0"/>
                  </a:moveTo>
                  <a:lnTo>
                    <a:pt x="150" y="8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4" y="83"/>
                  </a:lnTo>
                  <a:lnTo>
                    <a:pt x="219" y="118"/>
                  </a:lnTo>
                  <a:lnTo>
                    <a:pt x="211" y="150"/>
                  </a:lnTo>
                  <a:lnTo>
                    <a:pt x="191" y="181"/>
                  </a:lnTo>
                  <a:lnTo>
                    <a:pt x="168" y="204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7" y="213"/>
                  </a:lnTo>
                  <a:lnTo>
                    <a:pt x="38" y="193"/>
                  </a:lnTo>
                  <a:lnTo>
                    <a:pt x="15" y="167"/>
                  </a:lnTo>
                  <a:lnTo>
                    <a:pt x="3" y="135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1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6" name="Freeform 204">
              <a:extLst>
                <a:ext uri="{FF2B5EF4-FFF2-40B4-BE49-F238E27FC236}">
                  <a16:creationId xmlns:a16="http://schemas.microsoft.com/office/drawing/2014/main" id="{01FBF19A-81C5-4903-A801-ECEFE59ABAD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174491" y="2968341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0 w 219"/>
                <a:gd name="T3" fmla="*/ 9 h 219"/>
                <a:gd name="T4" fmla="*/ 181 w 219"/>
                <a:gd name="T5" fmla="*/ 26 h 219"/>
                <a:gd name="T6" fmla="*/ 204 w 219"/>
                <a:gd name="T7" fmla="*/ 52 h 219"/>
                <a:gd name="T8" fmla="*/ 216 w 219"/>
                <a:gd name="T9" fmla="*/ 84 h 219"/>
                <a:gd name="T10" fmla="*/ 219 w 219"/>
                <a:gd name="T11" fmla="*/ 118 h 219"/>
                <a:gd name="T12" fmla="*/ 210 w 219"/>
                <a:gd name="T13" fmla="*/ 150 h 219"/>
                <a:gd name="T14" fmla="*/ 193 w 219"/>
                <a:gd name="T15" fmla="*/ 182 h 219"/>
                <a:gd name="T16" fmla="*/ 167 w 219"/>
                <a:gd name="T17" fmla="*/ 205 h 219"/>
                <a:gd name="T18" fmla="*/ 135 w 219"/>
                <a:gd name="T19" fmla="*/ 216 h 219"/>
                <a:gd name="T20" fmla="*/ 103 w 219"/>
                <a:gd name="T21" fmla="*/ 219 h 219"/>
                <a:gd name="T22" fmla="*/ 69 w 219"/>
                <a:gd name="T23" fmla="*/ 210 h 219"/>
                <a:gd name="T24" fmla="*/ 37 w 219"/>
                <a:gd name="T25" fmla="*/ 193 h 219"/>
                <a:gd name="T26" fmla="*/ 17 w 219"/>
                <a:gd name="T27" fmla="*/ 167 h 219"/>
                <a:gd name="T28" fmla="*/ 2 w 219"/>
                <a:gd name="T29" fmla="*/ 135 h 219"/>
                <a:gd name="T30" fmla="*/ 0 w 219"/>
                <a:gd name="T31" fmla="*/ 104 h 219"/>
                <a:gd name="T32" fmla="*/ 8 w 219"/>
                <a:gd name="T33" fmla="*/ 69 h 219"/>
                <a:gd name="T34" fmla="*/ 26 w 219"/>
                <a:gd name="T35" fmla="*/ 40 h 219"/>
                <a:gd name="T36" fmla="*/ 51 w 219"/>
                <a:gd name="T37" fmla="*/ 17 h 219"/>
                <a:gd name="T38" fmla="*/ 83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0" y="9"/>
                  </a:lnTo>
                  <a:lnTo>
                    <a:pt x="181" y="26"/>
                  </a:lnTo>
                  <a:lnTo>
                    <a:pt x="204" y="52"/>
                  </a:lnTo>
                  <a:lnTo>
                    <a:pt x="216" y="84"/>
                  </a:lnTo>
                  <a:lnTo>
                    <a:pt x="219" y="118"/>
                  </a:lnTo>
                  <a:lnTo>
                    <a:pt x="210" y="150"/>
                  </a:lnTo>
                  <a:lnTo>
                    <a:pt x="193" y="182"/>
                  </a:lnTo>
                  <a:lnTo>
                    <a:pt x="167" y="205"/>
                  </a:lnTo>
                  <a:lnTo>
                    <a:pt x="135" y="216"/>
                  </a:lnTo>
                  <a:lnTo>
                    <a:pt x="103" y="219"/>
                  </a:lnTo>
                  <a:lnTo>
                    <a:pt x="69" y="210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2" y="135"/>
                  </a:lnTo>
                  <a:lnTo>
                    <a:pt x="0" y="104"/>
                  </a:lnTo>
                  <a:lnTo>
                    <a:pt x="8" y="69"/>
                  </a:lnTo>
                  <a:lnTo>
                    <a:pt x="26" y="40"/>
                  </a:lnTo>
                  <a:lnTo>
                    <a:pt x="51" y="17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7" name="Freeform 206">
              <a:extLst>
                <a:ext uri="{FF2B5EF4-FFF2-40B4-BE49-F238E27FC236}">
                  <a16:creationId xmlns:a16="http://schemas.microsoft.com/office/drawing/2014/main" id="{079855C3-F05C-451E-95CE-8E28835AC7E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195292" y="2744324"/>
              <a:ext cx="175213" cy="176013"/>
            </a:xfrm>
            <a:custGeom>
              <a:avLst/>
              <a:gdLst>
                <a:gd name="T0" fmla="*/ 118 w 219"/>
                <a:gd name="T1" fmla="*/ 0 h 220"/>
                <a:gd name="T2" fmla="*/ 150 w 219"/>
                <a:gd name="T3" fmla="*/ 9 h 220"/>
                <a:gd name="T4" fmla="*/ 181 w 219"/>
                <a:gd name="T5" fmla="*/ 26 h 220"/>
                <a:gd name="T6" fmla="*/ 204 w 219"/>
                <a:gd name="T7" fmla="*/ 52 h 220"/>
                <a:gd name="T8" fmla="*/ 216 w 219"/>
                <a:gd name="T9" fmla="*/ 84 h 220"/>
                <a:gd name="T10" fmla="*/ 219 w 219"/>
                <a:gd name="T11" fmla="*/ 119 h 220"/>
                <a:gd name="T12" fmla="*/ 213 w 219"/>
                <a:gd name="T13" fmla="*/ 153 h 220"/>
                <a:gd name="T14" fmla="*/ 193 w 219"/>
                <a:gd name="T15" fmla="*/ 182 h 220"/>
                <a:gd name="T16" fmla="*/ 167 w 219"/>
                <a:gd name="T17" fmla="*/ 202 h 220"/>
                <a:gd name="T18" fmla="*/ 138 w 219"/>
                <a:gd name="T19" fmla="*/ 217 h 220"/>
                <a:gd name="T20" fmla="*/ 103 w 219"/>
                <a:gd name="T21" fmla="*/ 220 h 220"/>
                <a:gd name="T22" fmla="*/ 69 w 219"/>
                <a:gd name="T23" fmla="*/ 211 h 220"/>
                <a:gd name="T24" fmla="*/ 40 w 219"/>
                <a:gd name="T25" fmla="*/ 194 h 220"/>
                <a:gd name="T26" fmla="*/ 17 w 219"/>
                <a:gd name="T27" fmla="*/ 168 h 220"/>
                <a:gd name="T28" fmla="*/ 3 w 219"/>
                <a:gd name="T29" fmla="*/ 136 h 220"/>
                <a:gd name="T30" fmla="*/ 0 w 219"/>
                <a:gd name="T31" fmla="*/ 104 h 220"/>
                <a:gd name="T32" fmla="*/ 8 w 219"/>
                <a:gd name="T33" fmla="*/ 70 h 220"/>
                <a:gd name="T34" fmla="*/ 26 w 219"/>
                <a:gd name="T35" fmla="*/ 38 h 220"/>
                <a:gd name="T36" fmla="*/ 52 w 219"/>
                <a:gd name="T37" fmla="*/ 18 h 220"/>
                <a:gd name="T38" fmla="*/ 83 w 219"/>
                <a:gd name="T39" fmla="*/ 3 h 220"/>
                <a:gd name="T40" fmla="*/ 118 w 219"/>
                <a:gd name="T41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20">
                  <a:moveTo>
                    <a:pt x="118" y="0"/>
                  </a:moveTo>
                  <a:lnTo>
                    <a:pt x="150" y="9"/>
                  </a:lnTo>
                  <a:lnTo>
                    <a:pt x="181" y="26"/>
                  </a:lnTo>
                  <a:lnTo>
                    <a:pt x="204" y="52"/>
                  </a:lnTo>
                  <a:lnTo>
                    <a:pt x="216" y="84"/>
                  </a:lnTo>
                  <a:lnTo>
                    <a:pt x="219" y="119"/>
                  </a:lnTo>
                  <a:lnTo>
                    <a:pt x="213" y="153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8" y="217"/>
                  </a:lnTo>
                  <a:lnTo>
                    <a:pt x="103" y="220"/>
                  </a:lnTo>
                  <a:lnTo>
                    <a:pt x="69" y="211"/>
                  </a:lnTo>
                  <a:lnTo>
                    <a:pt x="40" y="194"/>
                  </a:lnTo>
                  <a:lnTo>
                    <a:pt x="17" y="168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8" y="70"/>
                  </a:lnTo>
                  <a:lnTo>
                    <a:pt x="26" y="38"/>
                  </a:lnTo>
                  <a:lnTo>
                    <a:pt x="52" y="18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8" name="Freeform 207">
              <a:extLst>
                <a:ext uri="{FF2B5EF4-FFF2-40B4-BE49-F238E27FC236}">
                  <a16:creationId xmlns:a16="http://schemas.microsoft.com/office/drawing/2014/main" id="{D6D95715-4356-48D7-9E11-C0BE3D60ED4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202493" y="2029872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50 w 216"/>
                <a:gd name="T3" fmla="*/ 9 h 219"/>
                <a:gd name="T4" fmla="*/ 179 w 216"/>
                <a:gd name="T5" fmla="*/ 29 h 219"/>
                <a:gd name="T6" fmla="*/ 202 w 216"/>
                <a:gd name="T7" fmla="*/ 52 h 219"/>
                <a:gd name="T8" fmla="*/ 213 w 216"/>
                <a:gd name="T9" fmla="*/ 84 h 219"/>
                <a:gd name="T10" fmla="*/ 216 w 216"/>
                <a:gd name="T11" fmla="*/ 118 h 219"/>
                <a:gd name="T12" fmla="*/ 210 w 216"/>
                <a:gd name="T13" fmla="*/ 153 h 219"/>
                <a:gd name="T14" fmla="*/ 190 w 216"/>
                <a:gd name="T15" fmla="*/ 182 h 219"/>
                <a:gd name="T16" fmla="*/ 167 w 216"/>
                <a:gd name="T17" fmla="*/ 202 h 219"/>
                <a:gd name="T18" fmla="*/ 135 w 216"/>
                <a:gd name="T19" fmla="*/ 216 h 219"/>
                <a:gd name="T20" fmla="*/ 101 w 216"/>
                <a:gd name="T21" fmla="*/ 219 h 219"/>
                <a:gd name="T22" fmla="*/ 66 w 216"/>
                <a:gd name="T23" fmla="*/ 210 h 219"/>
                <a:gd name="T24" fmla="*/ 37 w 216"/>
                <a:gd name="T25" fmla="*/ 193 h 219"/>
                <a:gd name="T26" fmla="*/ 14 w 216"/>
                <a:gd name="T27" fmla="*/ 167 h 219"/>
                <a:gd name="T28" fmla="*/ 3 w 216"/>
                <a:gd name="T29" fmla="*/ 138 h 219"/>
                <a:gd name="T30" fmla="*/ 0 w 216"/>
                <a:gd name="T31" fmla="*/ 104 h 219"/>
                <a:gd name="T32" fmla="*/ 6 w 216"/>
                <a:gd name="T33" fmla="*/ 69 h 219"/>
                <a:gd name="T34" fmla="*/ 26 w 216"/>
                <a:gd name="T35" fmla="*/ 40 h 219"/>
                <a:gd name="T36" fmla="*/ 49 w 216"/>
                <a:gd name="T37" fmla="*/ 17 h 219"/>
                <a:gd name="T38" fmla="*/ 81 w 216"/>
                <a:gd name="T39" fmla="*/ 3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50" y="9"/>
                  </a:lnTo>
                  <a:lnTo>
                    <a:pt x="179" y="29"/>
                  </a:lnTo>
                  <a:lnTo>
                    <a:pt x="202" y="52"/>
                  </a:lnTo>
                  <a:lnTo>
                    <a:pt x="213" y="84"/>
                  </a:lnTo>
                  <a:lnTo>
                    <a:pt x="216" y="118"/>
                  </a:lnTo>
                  <a:lnTo>
                    <a:pt x="210" y="153"/>
                  </a:lnTo>
                  <a:lnTo>
                    <a:pt x="190" y="182"/>
                  </a:lnTo>
                  <a:lnTo>
                    <a:pt x="167" y="202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6" y="210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3" y="138"/>
                  </a:lnTo>
                  <a:lnTo>
                    <a:pt x="0" y="104"/>
                  </a:lnTo>
                  <a:lnTo>
                    <a:pt x="6" y="69"/>
                  </a:lnTo>
                  <a:lnTo>
                    <a:pt x="26" y="40"/>
                  </a:lnTo>
                  <a:lnTo>
                    <a:pt x="49" y="17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9" name="Freeform 208">
              <a:extLst>
                <a:ext uri="{FF2B5EF4-FFF2-40B4-BE49-F238E27FC236}">
                  <a16:creationId xmlns:a16="http://schemas.microsoft.com/office/drawing/2014/main" id="{16876B10-17B5-4F92-88BE-4E0FA3EEE71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294500" y="1824257"/>
              <a:ext cx="172813" cy="176013"/>
            </a:xfrm>
            <a:custGeom>
              <a:avLst/>
              <a:gdLst>
                <a:gd name="T0" fmla="*/ 115 w 216"/>
                <a:gd name="T1" fmla="*/ 0 h 220"/>
                <a:gd name="T2" fmla="*/ 149 w 216"/>
                <a:gd name="T3" fmla="*/ 9 h 220"/>
                <a:gd name="T4" fmla="*/ 178 w 216"/>
                <a:gd name="T5" fmla="*/ 26 h 220"/>
                <a:gd name="T6" fmla="*/ 201 w 216"/>
                <a:gd name="T7" fmla="*/ 52 h 220"/>
                <a:gd name="T8" fmla="*/ 213 w 216"/>
                <a:gd name="T9" fmla="*/ 81 h 220"/>
                <a:gd name="T10" fmla="*/ 216 w 216"/>
                <a:gd name="T11" fmla="*/ 116 h 220"/>
                <a:gd name="T12" fmla="*/ 210 w 216"/>
                <a:gd name="T13" fmla="*/ 150 h 220"/>
                <a:gd name="T14" fmla="*/ 190 w 216"/>
                <a:gd name="T15" fmla="*/ 179 h 220"/>
                <a:gd name="T16" fmla="*/ 164 w 216"/>
                <a:gd name="T17" fmla="*/ 202 h 220"/>
                <a:gd name="T18" fmla="*/ 135 w 216"/>
                <a:gd name="T19" fmla="*/ 217 h 220"/>
                <a:gd name="T20" fmla="*/ 100 w 216"/>
                <a:gd name="T21" fmla="*/ 220 h 220"/>
                <a:gd name="T22" fmla="*/ 66 w 216"/>
                <a:gd name="T23" fmla="*/ 211 h 220"/>
                <a:gd name="T24" fmla="*/ 37 w 216"/>
                <a:gd name="T25" fmla="*/ 194 h 220"/>
                <a:gd name="T26" fmla="*/ 14 w 216"/>
                <a:gd name="T27" fmla="*/ 168 h 220"/>
                <a:gd name="T28" fmla="*/ 2 w 216"/>
                <a:gd name="T29" fmla="*/ 136 h 220"/>
                <a:gd name="T30" fmla="*/ 0 w 216"/>
                <a:gd name="T31" fmla="*/ 101 h 220"/>
                <a:gd name="T32" fmla="*/ 5 w 216"/>
                <a:gd name="T33" fmla="*/ 67 h 220"/>
                <a:gd name="T34" fmla="*/ 23 w 216"/>
                <a:gd name="T35" fmla="*/ 38 h 220"/>
                <a:gd name="T36" fmla="*/ 49 w 216"/>
                <a:gd name="T37" fmla="*/ 15 h 220"/>
                <a:gd name="T38" fmla="*/ 80 w 216"/>
                <a:gd name="T39" fmla="*/ 3 h 220"/>
                <a:gd name="T40" fmla="*/ 115 w 216"/>
                <a:gd name="T41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20">
                  <a:moveTo>
                    <a:pt x="115" y="0"/>
                  </a:moveTo>
                  <a:lnTo>
                    <a:pt x="149" y="9"/>
                  </a:lnTo>
                  <a:lnTo>
                    <a:pt x="178" y="26"/>
                  </a:lnTo>
                  <a:lnTo>
                    <a:pt x="201" y="52"/>
                  </a:lnTo>
                  <a:lnTo>
                    <a:pt x="213" y="81"/>
                  </a:lnTo>
                  <a:lnTo>
                    <a:pt x="216" y="116"/>
                  </a:lnTo>
                  <a:lnTo>
                    <a:pt x="210" y="150"/>
                  </a:lnTo>
                  <a:lnTo>
                    <a:pt x="190" y="179"/>
                  </a:lnTo>
                  <a:lnTo>
                    <a:pt x="164" y="202"/>
                  </a:lnTo>
                  <a:lnTo>
                    <a:pt x="135" y="217"/>
                  </a:lnTo>
                  <a:lnTo>
                    <a:pt x="100" y="220"/>
                  </a:lnTo>
                  <a:lnTo>
                    <a:pt x="66" y="211"/>
                  </a:lnTo>
                  <a:lnTo>
                    <a:pt x="37" y="194"/>
                  </a:lnTo>
                  <a:lnTo>
                    <a:pt x="14" y="168"/>
                  </a:lnTo>
                  <a:lnTo>
                    <a:pt x="2" y="136"/>
                  </a:lnTo>
                  <a:lnTo>
                    <a:pt x="0" y="101"/>
                  </a:lnTo>
                  <a:lnTo>
                    <a:pt x="5" y="67"/>
                  </a:lnTo>
                  <a:lnTo>
                    <a:pt x="23" y="38"/>
                  </a:lnTo>
                  <a:lnTo>
                    <a:pt x="49" y="15"/>
                  </a:lnTo>
                  <a:lnTo>
                    <a:pt x="80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0" name="Freeform 209">
              <a:extLst>
                <a:ext uri="{FF2B5EF4-FFF2-40B4-BE49-F238E27FC236}">
                  <a16:creationId xmlns:a16="http://schemas.microsoft.com/office/drawing/2014/main" id="{AD89DFD7-B45E-443D-ADD0-C69ED1B8B12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403307" y="1629043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50 w 216"/>
                <a:gd name="T3" fmla="*/ 9 h 219"/>
                <a:gd name="T4" fmla="*/ 179 w 216"/>
                <a:gd name="T5" fmla="*/ 26 h 219"/>
                <a:gd name="T6" fmla="*/ 202 w 216"/>
                <a:gd name="T7" fmla="*/ 52 h 219"/>
                <a:gd name="T8" fmla="*/ 213 w 216"/>
                <a:gd name="T9" fmla="*/ 84 h 219"/>
                <a:gd name="T10" fmla="*/ 216 w 216"/>
                <a:gd name="T11" fmla="*/ 116 h 219"/>
                <a:gd name="T12" fmla="*/ 211 w 216"/>
                <a:gd name="T13" fmla="*/ 150 h 219"/>
                <a:gd name="T14" fmla="*/ 193 w 216"/>
                <a:gd name="T15" fmla="*/ 182 h 219"/>
                <a:gd name="T16" fmla="*/ 167 w 216"/>
                <a:gd name="T17" fmla="*/ 202 h 219"/>
                <a:gd name="T18" fmla="*/ 136 w 216"/>
                <a:gd name="T19" fmla="*/ 217 h 219"/>
                <a:gd name="T20" fmla="*/ 101 w 216"/>
                <a:gd name="T21" fmla="*/ 219 h 219"/>
                <a:gd name="T22" fmla="*/ 66 w 216"/>
                <a:gd name="T23" fmla="*/ 211 h 219"/>
                <a:gd name="T24" fmla="*/ 38 w 216"/>
                <a:gd name="T25" fmla="*/ 194 h 219"/>
                <a:gd name="T26" fmla="*/ 14 w 216"/>
                <a:gd name="T27" fmla="*/ 168 h 219"/>
                <a:gd name="T28" fmla="*/ 3 w 216"/>
                <a:gd name="T29" fmla="*/ 136 h 219"/>
                <a:gd name="T30" fmla="*/ 0 w 216"/>
                <a:gd name="T31" fmla="*/ 101 h 219"/>
                <a:gd name="T32" fmla="*/ 6 w 216"/>
                <a:gd name="T33" fmla="*/ 70 h 219"/>
                <a:gd name="T34" fmla="*/ 26 w 216"/>
                <a:gd name="T35" fmla="*/ 38 h 219"/>
                <a:gd name="T36" fmla="*/ 49 w 216"/>
                <a:gd name="T37" fmla="*/ 18 h 219"/>
                <a:gd name="T38" fmla="*/ 81 w 216"/>
                <a:gd name="T39" fmla="*/ 3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3" y="84"/>
                  </a:lnTo>
                  <a:lnTo>
                    <a:pt x="216" y="116"/>
                  </a:lnTo>
                  <a:lnTo>
                    <a:pt x="211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6" y="217"/>
                  </a:lnTo>
                  <a:lnTo>
                    <a:pt x="101" y="219"/>
                  </a:lnTo>
                  <a:lnTo>
                    <a:pt x="66" y="211"/>
                  </a:lnTo>
                  <a:lnTo>
                    <a:pt x="38" y="194"/>
                  </a:lnTo>
                  <a:lnTo>
                    <a:pt x="14" y="168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6" y="70"/>
                  </a:lnTo>
                  <a:lnTo>
                    <a:pt x="26" y="38"/>
                  </a:lnTo>
                  <a:lnTo>
                    <a:pt x="49" y="18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1" name="Freeform 210">
              <a:extLst>
                <a:ext uri="{FF2B5EF4-FFF2-40B4-BE49-F238E27FC236}">
                  <a16:creationId xmlns:a16="http://schemas.microsoft.com/office/drawing/2014/main" id="{337AFBA0-7AE2-4206-8AE1-55C976474A2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524916" y="1441829"/>
              <a:ext cx="176013" cy="175213"/>
            </a:xfrm>
            <a:custGeom>
              <a:avLst/>
              <a:gdLst>
                <a:gd name="T0" fmla="*/ 119 w 220"/>
                <a:gd name="T1" fmla="*/ 0 h 219"/>
                <a:gd name="T2" fmla="*/ 150 w 220"/>
                <a:gd name="T3" fmla="*/ 9 h 219"/>
                <a:gd name="T4" fmla="*/ 182 w 220"/>
                <a:gd name="T5" fmla="*/ 26 h 219"/>
                <a:gd name="T6" fmla="*/ 202 w 220"/>
                <a:gd name="T7" fmla="*/ 52 h 219"/>
                <a:gd name="T8" fmla="*/ 217 w 220"/>
                <a:gd name="T9" fmla="*/ 83 h 219"/>
                <a:gd name="T10" fmla="*/ 220 w 220"/>
                <a:gd name="T11" fmla="*/ 118 h 219"/>
                <a:gd name="T12" fmla="*/ 211 w 220"/>
                <a:gd name="T13" fmla="*/ 150 h 219"/>
                <a:gd name="T14" fmla="*/ 194 w 220"/>
                <a:gd name="T15" fmla="*/ 181 h 219"/>
                <a:gd name="T16" fmla="*/ 168 w 220"/>
                <a:gd name="T17" fmla="*/ 202 h 219"/>
                <a:gd name="T18" fmla="*/ 136 w 220"/>
                <a:gd name="T19" fmla="*/ 216 h 219"/>
                <a:gd name="T20" fmla="*/ 104 w 220"/>
                <a:gd name="T21" fmla="*/ 219 h 219"/>
                <a:gd name="T22" fmla="*/ 70 w 220"/>
                <a:gd name="T23" fmla="*/ 210 h 219"/>
                <a:gd name="T24" fmla="*/ 38 w 220"/>
                <a:gd name="T25" fmla="*/ 193 h 219"/>
                <a:gd name="T26" fmla="*/ 18 w 220"/>
                <a:gd name="T27" fmla="*/ 167 h 219"/>
                <a:gd name="T28" fmla="*/ 3 w 220"/>
                <a:gd name="T29" fmla="*/ 135 h 219"/>
                <a:gd name="T30" fmla="*/ 0 w 220"/>
                <a:gd name="T31" fmla="*/ 104 h 219"/>
                <a:gd name="T32" fmla="*/ 9 w 220"/>
                <a:gd name="T33" fmla="*/ 69 h 219"/>
                <a:gd name="T34" fmla="*/ 26 w 220"/>
                <a:gd name="T35" fmla="*/ 40 h 219"/>
                <a:gd name="T36" fmla="*/ 52 w 220"/>
                <a:gd name="T37" fmla="*/ 17 h 219"/>
                <a:gd name="T38" fmla="*/ 84 w 220"/>
                <a:gd name="T39" fmla="*/ 6 h 219"/>
                <a:gd name="T40" fmla="*/ 119 w 220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0" h="219">
                  <a:moveTo>
                    <a:pt x="119" y="0"/>
                  </a:moveTo>
                  <a:lnTo>
                    <a:pt x="150" y="9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7" y="83"/>
                  </a:lnTo>
                  <a:lnTo>
                    <a:pt x="220" y="118"/>
                  </a:lnTo>
                  <a:lnTo>
                    <a:pt x="211" y="150"/>
                  </a:lnTo>
                  <a:lnTo>
                    <a:pt x="194" y="181"/>
                  </a:lnTo>
                  <a:lnTo>
                    <a:pt x="168" y="202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70" y="210"/>
                  </a:lnTo>
                  <a:lnTo>
                    <a:pt x="38" y="193"/>
                  </a:lnTo>
                  <a:lnTo>
                    <a:pt x="18" y="167"/>
                  </a:lnTo>
                  <a:lnTo>
                    <a:pt x="3" y="135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4" y="6"/>
                  </a:lnTo>
                  <a:lnTo>
                    <a:pt x="1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2" name="Freeform 211">
              <a:extLst>
                <a:ext uri="{FF2B5EF4-FFF2-40B4-BE49-F238E27FC236}">
                  <a16:creationId xmlns:a16="http://schemas.microsoft.com/office/drawing/2014/main" id="{955C964A-A2CC-4E0A-BA39-9896EE882C9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663326" y="1266617"/>
              <a:ext cx="173613" cy="172813"/>
            </a:xfrm>
            <a:custGeom>
              <a:avLst/>
              <a:gdLst>
                <a:gd name="T0" fmla="*/ 116 w 217"/>
                <a:gd name="T1" fmla="*/ 0 h 216"/>
                <a:gd name="T2" fmla="*/ 150 w 217"/>
                <a:gd name="T3" fmla="*/ 6 h 216"/>
                <a:gd name="T4" fmla="*/ 179 w 217"/>
                <a:gd name="T5" fmla="*/ 26 h 216"/>
                <a:gd name="T6" fmla="*/ 202 w 217"/>
                <a:gd name="T7" fmla="*/ 52 h 216"/>
                <a:gd name="T8" fmla="*/ 214 w 217"/>
                <a:gd name="T9" fmla="*/ 81 h 216"/>
                <a:gd name="T10" fmla="*/ 217 w 217"/>
                <a:gd name="T11" fmla="*/ 115 h 216"/>
                <a:gd name="T12" fmla="*/ 211 w 217"/>
                <a:gd name="T13" fmla="*/ 150 h 216"/>
                <a:gd name="T14" fmla="*/ 193 w 217"/>
                <a:gd name="T15" fmla="*/ 179 h 216"/>
                <a:gd name="T16" fmla="*/ 168 w 217"/>
                <a:gd name="T17" fmla="*/ 202 h 216"/>
                <a:gd name="T18" fmla="*/ 136 w 217"/>
                <a:gd name="T19" fmla="*/ 213 h 216"/>
                <a:gd name="T20" fmla="*/ 101 w 217"/>
                <a:gd name="T21" fmla="*/ 216 h 216"/>
                <a:gd name="T22" fmla="*/ 67 w 217"/>
                <a:gd name="T23" fmla="*/ 210 h 216"/>
                <a:gd name="T24" fmla="*/ 38 w 217"/>
                <a:gd name="T25" fmla="*/ 193 h 216"/>
                <a:gd name="T26" fmla="*/ 15 w 217"/>
                <a:gd name="T27" fmla="*/ 167 h 216"/>
                <a:gd name="T28" fmla="*/ 3 w 217"/>
                <a:gd name="T29" fmla="*/ 135 h 216"/>
                <a:gd name="T30" fmla="*/ 0 w 217"/>
                <a:gd name="T31" fmla="*/ 101 h 216"/>
                <a:gd name="T32" fmla="*/ 6 w 217"/>
                <a:gd name="T33" fmla="*/ 66 h 216"/>
                <a:gd name="T34" fmla="*/ 26 w 217"/>
                <a:gd name="T35" fmla="*/ 37 h 216"/>
                <a:gd name="T36" fmla="*/ 52 w 217"/>
                <a:gd name="T37" fmla="*/ 14 h 216"/>
                <a:gd name="T38" fmla="*/ 81 w 217"/>
                <a:gd name="T39" fmla="*/ 3 h 216"/>
                <a:gd name="T40" fmla="*/ 116 w 217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7" h="216">
                  <a:moveTo>
                    <a:pt x="116" y="0"/>
                  </a:moveTo>
                  <a:lnTo>
                    <a:pt x="150" y="6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4" y="81"/>
                  </a:lnTo>
                  <a:lnTo>
                    <a:pt x="217" y="115"/>
                  </a:lnTo>
                  <a:lnTo>
                    <a:pt x="211" y="150"/>
                  </a:lnTo>
                  <a:lnTo>
                    <a:pt x="193" y="179"/>
                  </a:lnTo>
                  <a:lnTo>
                    <a:pt x="168" y="202"/>
                  </a:lnTo>
                  <a:lnTo>
                    <a:pt x="136" y="213"/>
                  </a:lnTo>
                  <a:lnTo>
                    <a:pt x="101" y="216"/>
                  </a:lnTo>
                  <a:lnTo>
                    <a:pt x="67" y="210"/>
                  </a:lnTo>
                  <a:lnTo>
                    <a:pt x="38" y="193"/>
                  </a:lnTo>
                  <a:lnTo>
                    <a:pt x="15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6" y="66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1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3" name="Freeform 212">
              <a:extLst>
                <a:ext uri="{FF2B5EF4-FFF2-40B4-BE49-F238E27FC236}">
                  <a16:creationId xmlns:a16="http://schemas.microsoft.com/office/drawing/2014/main" id="{0D227588-EEDB-48B7-86E4-B694DDA6E98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813737" y="1101005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0 w 219"/>
                <a:gd name="T3" fmla="*/ 9 h 219"/>
                <a:gd name="T4" fmla="*/ 182 w 219"/>
                <a:gd name="T5" fmla="*/ 26 h 219"/>
                <a:gd name="T6" fmla="*/ 202 w 219"/>
                <a:gd name="T7" fmla="*/ 52 h 219"/>
                <a:gd name="T8" fmla="*/ 216 w 219"/>
                <a:gd name="T9" fmla="*/ 84 h 219"/>
                <a:gd name="T10" fmla="*/ 219 w 219"/>
                <a:gd name="T11" fmla="*/ 119 h 219"/>
                <a:gd name="T12" fmla="*/ 211 w 219"/>
                <a:gd name="T13" fmla="*/ 153 h 219"/>
                <a:gd name="T14" fmla="*/ 193 w 219"/>
                <a:gd name="T15" fmla="*/ 182 h 219"/>
                <a:gd name="T16" fmla="*/ 167 w 219"/>
                <a:gd name="T17" fmla="*/ 205 h 219"/>
                <a:gd name="T18" fmla="*/ 138 w 219"/>
                <a:gd name="T19" fmla="*/ 217 h 219"/>
                <a:gd name="T20" fmla="*/ 104 w 219"/>
                <a:gd name="T21" fmla="*/ 219 h 219"/>
                <a:gd name="T22" fmla="*/ 69 w 219"/>
                <a:gd name="T23" fmla="*/ 214 h 219"/>
                <a:gd name="T24" fmla="*/ 40 w 219"/>
                <a:gd name="T25" fmla="*/ 194 h 219"/>
                <a:gd name="T26" fmla="*/ 17 w 219"/>
                <a:gd name="T27" fmla="*/ 168 h 219"/>
                <a:gd name="T28" fmla="*/ 3 w 219"/>
                <a:gd name="T29" fmla="*/ 139 h 219"/>
                <a:gd name="T30" fmla="*/ 0 w 219"/>
                <a:gd name="T31" fmla="*/ 104 h 219"/>
                <a:gd name="T32" fmla="*/ 9 w 219"/>
                <a:gd name="T33" fmla="*/ 70 h 219"/>
                <a:gd name="T34" fmla="*/ 26 w 219"/>
                <a:gd name="T35" fmla="*/ 41 h 219"/>
                <a:gd name="T36" fmla="*/ 52 w 219"/>
                <a:gd name="T37" fmla="*/ 18 h 219"/>
                <a:gd name="T38" fmla="*/ 84 w 219"/>
                <a:gd name="T39" fmla="*/ 6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0" y="9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4"/>
                  </a:lnTo>
                  <a:lnTo>
                    <a:pt x="219" y="119"/>
                  </a:lnTo>
                  <a:lnTo>
                    <a:pt x="211" y="153"/>
                  </a:lnTo>
                  <a:lnTo>
                    <a:pt x="193" y="182"/>
                  </a:lnTo>
                  <a:lnTo>
                    <a:pt x="167" y="205"/>
                  </a:lnTo>
                  <a:lnTo>
                    <a:pt x="138" y="217"/>
                  </a:lnTo>
                  <a:lnTo>
                    <a:pt x="104" y="219"/>
                  </a:lnTo>
                  <a:lnTo>
                    <a:pt x="69" y="214"/>
                  </a:lnTo>
                  <a:lnTo>
                    <a:pt x="40" y="194"/>
                  </a:lnTo>
                  <a:lnTo>
                    <a:pt x="17" y="168"/>
                  </a:lnTo>
                  <a:lnTo>
                    <a:pt x="3" y="139"/>
                  </a:lnTo>
                  <a:lnTo>
                    <a:pt x="0" y="104"/>
                  </a:lnTo>
                  <a:lnTo>
                    <a:pt x="9" y="70"/>
                  </a:lnTo>
                  <a:lnTo>
                    <a:pt x="26" y="41"/>
                  </a:lnTo>
                  <a:lnTo>
                    <a:pt x="52" y="18"/>
                  </a:lnTo>
                  <a:lnTo>
                    <a:pt x="84" y="6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4" name="Freeform 213">
              <a:extLst>
                <a:ext uri="{FF2B5EF4-FFF2-40B4-BE49-F238E27FC236}">
                  <a16:creationId xmlns:a16="http://schemas.microsoft.com/office/drawing/2014/main" id="{0C22D757-9DEF-4526-A7A1-1A84F734CE3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977749" y="945793"/>
              <a:ext cx="172813" cy="175213"/>
            </a:xfrm>
            <a:custGeom>
              <a:avLst/>
              <a:gdLst>
                <a:gd name="T0" fmla="*/ 116 w 216"/>
                <a:gd name="T1" fmla="*/ 0 h 219"/>
                <a:gd name="T2" fmla="*/ 150 w 216"/>
                <a:gd name="T3" fmla="*/ 8 h 219"/>
                <a:gd name="T4" fmla="*/ 179 w 216"/>
                <a:gd name="T5" fmla="*/ 25 h 219"/>
                <a:gd name="T6" fmla="*/ 202 w 216"/>
                <a:gd name="T7" fmla="*/ 51 h 219"/>
                <a:gd name="T8" fmla="*/ 214 w 216"/>
                <a:gd name="T9" fmla="*/ 83 h 219"/>
                <a:gd name="T10" fmla="*/ 216 w 216"/>
                <a:gd name="T11" fmla="*/ 115 h 219"/>
                <a:gd name="T12" fmla="*/ 211 w 216"/>
                <a:gd name="T13" fmla="*/ 149 h 219"/>
                <a:gd name="T14" fmla="*/ 191 w 216"/>
                <a:gd name="T15" fmla="*/ 181 h 219"/>
                <a:gd name="T16" fmla="*/ 165 w 216"/>
                <a:gd name="T17" fmla="*/ 201 h 219"/>
                <a:gd name="T18" fmla="*/ 136 w 216"/>
                <a:gd name="T19" fmla="*/ 216 h 219"/>
                <a:gd name="T20" fmla="*/ 101 w 216"/>
                <a:gd name="T21" fmla="*/ 219 h 219"/>
                <a:gd name="T22" fmla="*/ 67 w 216"/>
                <a:gd name="T23" fmla="*/ 210 h 219"/>
                <a:gd name="T24" fmla="*/ 38 w 216"/>
                <a:gd name="T25" fmla="*/ 193 h 219"/>
                <a:gd name="T26" fmla="*/ 15 w 216"/>
                <a:gd name="T27" fmla="*/ 167 h 219"/>
                <a:gd name="T28" fmla="*/ 3 w 216"/>
                <a:gd name="T29" fmla="*/ 135 h 219"/>
                <a:gd name="T30" fmla="*/ 0 w 216"/>
                <a:gd name="T31" fmla="*/ 103 h 219"/>
                <a:gd name="T32" fmla="*/ 6 w 216"/>
                <a:gd name="T33" fmla="*/ 69 h 219"/>
                <a:gd name="T34" fmla="*/ 26 w 216"/>
                <a:gd name="T35" fmla="*/ 37 h 219"/>
                <a:gd name="T36" fmla="*/ 49 w 216"/>
                <a:gd name="T37" fmla="*/ 17 h 219"/>
                <a:gd name="T38" fmla="*/ 81 w 216"/>
                <a:gd name="T39" fmla="*/ 2 h 219"/>
                <a:gd name="T40" fmla="*/ 116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6" y="0"/>
                  </a:moveTo>
                  <a:lnTo>
                    <a:pt x="150" y="8"/>
                  </a:lnTo>
                  <a:lnTo>
                    <a:pt x="179" y="25"/>
                  </a:lnTo>
                  <a:lnTo>
                    <a:pt x="202" y="51"/>
                  </a:lnTo>
                  <a:lnTo>
                    <a:pt x="214" y="83"/>
                  </a:lnTo>
                  <a:lnTo>
                    <a:pt x="216" y="115"/>
                  </a:lnTo>
                  <a:lnTo>
                    <a:pt x="211" y="149"/>
                  </a:lnTo>
                  <a:lnTo>
                    <a:pt x="191" y="181"/>
                  </a:lnTo>
                  <a:lnTo>
                    <a:pt x="165" y="201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7" y="210"/>
                  </a:lnTo>
                  <a:lnTo>
                    <a:pt x="38" y="193"/>
                  </a:lnTo>
                  <a:lnTo>
                    <a:pt x="15" y="167"/>
                  </a:lnTo>
                  <a:lnTo>
                    <a:pt x="3" y="135"/>
                  </a:lnTo>
                  <a:lnTo>
                    <a:pt x="0" y="103"/>
                  </a:lnTo>
                  <a:lnTo>
                    <a:pt x="6" y="69"/>
                  </a:lnTo>
                  <a:lnTo>
                    <a:pt x="26" y="37"/>
                  </a:lnTo>
                  <a:lnTo>
                    <a:pt x="49" y="17"/>
                  </a:lnTo>
                  <a:lnTo>
                    <a:pt x="81" y="2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5" name="Freeform 214">
              <a:extLst>
                <a:ext uri="{FF2B5EF4-FFF2-40B4-BE49-F238E27FC236}">
                  <a16:creationId xmlns:a16="http://schemas.microsoft.com/office/drawing/2014/main" id="{342440F4-8FA5-4748-ADEA-D8C7B045B1B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152962" y="805783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50 w 216"/>
                <a:gd name="T3" fmla="*/ 6 h 219"/>
                <a:gd name="T4" fmla="*/ 179 w 216"/>
                <a:gd name="T5" fmla="*/ 26 h 219"/>
                <a:gd name="T6" fmla="*/ 202 w 216"/>
                <a:gd name="T7" fmla="*/ 52 h 219"/>
                <a:gd name="T8" fmla="*/ 213 w 216"/>
                <a:gd name="T9" fmla="*/ 81 h 219"/>
                <a:gd name="T10" fmla="*/ 216 w 216"/>
                <a:gd name="T11" fmla="*/ 116 h 219"/>
                <a:gd name="T12" fmla="*/ 211 w 216"/>
                <a:gd name="T13" fmla="*/ 150 h 219"/>
                <a:gd name="T14" fmla="*/ 190 w 216"/>
                <a:gd name="T15" fmla="*/ 179 h 219"/>
                <a:gd name="T16" fmla="*/ 167 w 216"/>
                <a:gd name="T17" fmla="*/ 202 h 219"/>
                <a:gd name="T18" fmla="*/ 136 w 216"/>
                <a:gd name="T19" fmla="*/ 217 h 219"/>
                <a:gd name="T20" fmla="*/ 101 w 216"/>
                <a:gd name="T21" fmla="*/ 219 h 219"/>
                <a:gd name="T22" fmla="*/ 66 w 216"/>
                <a:gd name="T23" fmla="*/ 211 h 219"/>
                <a:gd name="T24" fmla="*/ 38 w 216"/>
                <a:gd name="T25" fmla="*/ 193 h 219"/>
                <a:gd name="T26" fmla="*/ 15 w 216"/>
                <a:gd name="T27" fmla="*/ 168 h 219"/>
                <a:gd name="T28" fmla="*/ 3 w 216"/>
                <a:gd name="T29" fmla="*/ 136 h 219"/>
                <a:gd name="T30" fmla="*/ 0 w 216"/>
                <a:gd name="T31" fmla="*/ 101 h 219"/>
                <a:gd name="T32" fmla="*/ 6 w 216"/>
                <a:gd name="T33" fmla="*/ 70 h 219"/>
                <a:gd name="T34" fmla="*/ 26 w 216"/>
                <a:gd name="T35" fmla="*/ 38 h 219"/>
                <a:gd name="T36" fmla="*/ 52 w 216"/>
                <a:gd name="T37" fmla="*/ 15 h 219"/>
                <a:gd name="T38" fmla="*/ 81 w 216"/>
                <a:gd name="T39" fmla="*/ 3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50" y="6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3" y="81"/>
                  </a:lnTo>
                  <a:lnTo>
                    <a:pt x="216" y="116"/>
                  </a:lnTo>
                  <a:lnTo>
                    <a:pt x="211" y="150"/>
                  </a:lnTo>
                  <a:lnTo>
                    <a:pt x="190" y="179"/>
                  </a:lnTo>
                  <a:lnTo>
                    <a:pt x="167" y="202"/>
                  </a:lnTo>
                  <a:lnTo>
                    <a:pt x="136" y="217"/>
                  </a:lnTo>
                  <a:lnTo>
                    <a:pt x="101" y="219"/>
                  </a:lnTo>
                  <a:lnTo>
                    <a:pt x="66" y="211"/>
                  </a:lnTo>
                  <a:lnTo>
                    <a:pt x="38" y="193"/>
                  </a:lnTo>
                  <a:lnTo>
                    <a:pt x="15" y="168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6" y="70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6" name="Freeform 215">
              <a:extLst>
                <a:ext uri="{FF2B5EF4-FFF2-40B4-BE49-F238E27FC236}">
                  <a16:creationId xmlns:a16="http://schemas.microsoft.com/office/drawing/2014/main" id="{827CC3F5-AD81-440D-B16E-CF2DDD11851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336975" y="680974"/>
              <a:ext cx="175213" cy="172813"/>
            </a:xfrm>
            <a:custGeom>
              <a:avLst/>
              <a:gdLst>
                <a:gd name="T0" fmla="*/ 118 w 219"/>
                <a:gd name="T1" fmla="*/ 0 h 216"/>
                <a:gd name="T2" fmla="*/ 150 w 219"/>
                <a:gd name="T3" fmla="*/ 6 h 216"/>
                <a:gd name="T4" fmla="*/ 181 w 219"/>
                <a:gd name="T5" fmla="*/ 26 h 216"/>
                <a:gd name="T6" fmla="*/ 201 w 219"/>
                <a:gd name="T7" fmla="*/ 49 h 216"/>
                <a:gd name="T8" fmla="*/ 216 w 219"/>
                <a:gd name="T9" fmla="*/ 81 h 216"/>
                <a:gd name="T10" fmla="*/ 219 w 219"/>
                <a:gd name="T11" fmla="*/ 115 h 216"/>
                <a:gd name="T12" fmla="*/ 213 w 219"/>
                <a:gd name="T13" fmla="*/ 150 h 216"/>
                <a:gd name="T14" fmla="*/ 193 w 219"/>
                <a:gd name="T15" fmla="*/ 179 h 216"/>
                <a:gd name="T16" fmla="*/ 167 w 219"/>
                <a:gd name="T17" fmla="*/ 202 h 216"/>
                <a:gd name="T18" fmla="*/ 135 w 219"/>
                <a:gd name="T19" fmla="*/ 213 h 216"/>
                <a:gd name="T20" fmla="*/ 103 w 219"/>
                <a:gd name="T21" fmla="*/ 216 h 216"/>
                <a:gd name="T22" fmla="*/ 69 w 219"/>
                <a:gd name="T23" fmla="*/ 207 h 216"/>
                <a:gd name="T24" fmla="*/ 37 w 219"/>
                <a:gd name="T25" fmla="*/ 190 h 216"/>
                <a:gd name="T26" fmla="*/ 17 w 219"/>
                <a:gd name="T27" fmla="*/ 164 h 216"/>
                <a:gd name="T28" fmla="*/ 3 w 219"/>
                <a:gd name="T29" fmla="*/ 135 h 216"/>
                <a:gd name="T30" fmla="*/ 0 w 219"/>
                <a:gd name="T31" fmla="*/ 101 h 216"/>
                <a:gd name="T32" fmla="*/ 8 w 219"/>
                <a:gd name="T33" fmla="*/ 66 h 216"/>
                <a:gd name="T34" fmla="*/ 26 w 219"/>
                <a:gd name="T35" fmla="*/ 37 h 216"/>
                <a:gd name="T36" fmla="*/ 52 w 219"/>
                <a:gd name="T37" fmla="*/ 14 h 216"/>
                <a:gd name="T38" fmla="*/ 83 w 219"/>
                <a:gd name="T39" fmla="*/ 3 h 216"/>
                <a:gd name="T40" fmla="*/ 118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8" y="0"/>
                  </a:moveTo>
                  <a:lnTo>
                    <a:pt x="150" y="6"/>
                  </a:lnTo>
                  <a:lnTo>
                    <a:pt x="181" y="26"/>
                  </a:lnTo>
                  <a:lnTo>
                    <a:pt x="201" y="49"/>
                  </a:lnTo>
                  <a:lnTo>
                    <a:pt x="216" y="81"/>
                  </a:lnTo>
                  <a:lnTo>
                    <a:pt x="219" y="115"/>
                  </a:lnTo>
                  <a:lnTo>
                    <a:pt x="213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3"/>
                  </a:lnTo>
                  <a:lnTo>
                    <a:pt x="103" y="216"/>
                  </a:lnTo>
                  <a:lnTo>
                    <a:pt x="69" y="207"/>
                  </a:lnTo>
                  <a:lnTo>
                    <a:pt x="37" y="190"/>
                  </a:lnTo>
                  <a:lnTo>
                    <a:pt x="17" y="164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8" y="66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7" name="Freeform 216">
              <a:extLst>
                <a:ext uri="{FF2B5EF4-FFF2-40B4-BE49-F238E27FC236}">
                  <a16:creationId xmlns:a16="http://schemas.microsoft.com/office/drawing/2014/main" id="{834AF926-834F-4A02-AE7C-A0E58E964A6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530590" y="570566"/>
              <a:ext cx="176013" cy="172813"/>
            </a:xfrm>
            <a:custGeom>
              <a:avLst/>
              <a:gdLst>
                <a:gd name="T0" fmla="*/ 116 w 220"/>
                <a:gd name="T1" fmla="*/ 0 h 216"/>
                <a:gd name="T2" fmla="*/ 150 w 220"/>
                <a:gd name="T3" fmla="*/ 6 h 216"/>
                <a:gd name="T4" fmla="*/ 179 w 220"/>
                <a:gd name="T5" fmla="*/ 26 h 216"/>
                <a:gd name="T6" fmla="*/ 202 w 220"/>
                <a:gd name="T7" fmla="*/ 49 h 216"/>
                <a:gd name="T8" fmla="*/ 217 w 220"/>
                <a:gd name="T9" fmla="*/ 81 h 216"/>
                <a:gd name="T10" fmla="*/ 220 w 220"/>
                <a:gd name="T11" fmla="*/ 116 h 216"/>
                <a:gd name="T12" fmla="*/ 211 w 220"/>
                <a:gd name="T13" fmla="*/ 150 h 216"/>
                <a:gd name="T14" fmla="*/ 191 w 220"/>
                <a:gd name="T15" fmla="*/ 179 h 216"/>
                <a:gd name="T16" fmla="*/ 168 w 220"/>
                <a:gd name="T17" fmla="*/ 202 h 216"/>
                <a:gd name="T18" fmla="*/ 136 w 220"/>
                <a:gd name="T19" fmla="*/ 213 h 216"/>
                <a:gd name="T20" fmla="*/ 101 w 220"/>
                <a:gd name="T21" fmla="*/ 216 h 216"/>
                <a:gd name="T22" fmla="*/ 70 w 220"/>
                <a:gd name="T23" fmla="*/ 211 h 216"/>
                <a:gd name="T24" fmla="*/ 38 w 220"/>
                <a:gd name="T25" fmla="*/ 190 h 216"/>
                <a:gd name="T26" fmla="*/ 18 w 220"/>
                <a:gd name="T27" fmla="*/ 167 h 216"/>
                <a:gd name="T28" fmla="*/ 3 w 220"/>
                <a:gd name="T29" fmla="*/ 136 h 216"/>
                <a:gd name="T30" fmla="*/ 0 w 220"/>
                <a:gd name="T31" fmla="*/ 101 h 216"/>
                <a:gd name="T32" fmla="*/ 9 w 220"/>
                <a:gd name="T33" fmla="*/ 67 h 216"/>
                <a:gd name="T34" fmla="*/ 26 w 220"/>
                <a:gd name="T35" fmla="*/ 38 h 216"/>
                <a:gd name="T36" fmla="*/ 52 w 220"/>
                <a:gd name="T37" fmla="*/ 15 h 216"/>
                <a:gd name="T38" fmla="*/ 81 w 220"/>
                <a:gd name="T39" fmla="*/ 3 h 216"/>
                <a:gd name="T40" fmla="*/ 116 w 220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0" h="216">
                  <a:moveTo>
                    <a:pt x="116" y="0"/>
                  </a:moveTo>
                  <a:lnTo>
                    <a:pt x="150" y="6"/>
                  </a:lnTo>
                  <a:lnTo>
                    <a:pt x="179" y="26"/>
                  </a:lnTo>
                  <a:lnTo>
                    <a:pt x="202" y="49"/>
                  </a:lnTo>
                  <a:lnTo>
                    <a:pt x="217" y="81"/>
                  </a:lnTo>
                  <a:lnTo>
                    <a:pt x="220" y="116"/>
                  </a:lnTo>
                  <a:lnTo>
                    <a:pt x="211" y="150"/>
                  </a:lnTo>
                  <a:lnTo>
                    <a:pt x="191" y="179"/>
                  </a:lnTo>
                  <a:lnTo>
                    <a:pt x="168" y="202"/>
                  </a:lnTo>
                  <a:lnTo>
                    <a:pt x="136" y="213"/>
                  </a:lnTo>
                  <a:lnTo>
                    <a:pt x="101" y="216"/>
                  </a:lnTo>
                  <a:lnTo>
                    <a:pt x="70" y="211"/>
                  </a:lnTo>
                  <a:lnTo>
                    <a:pt x="38" y="190"/>
                  </a:lnTo>
                  <a:lnTo>
                    <a:pt x="18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9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1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8" name="Freeform 217">
              <a:extLst>
                <a:ext uri="{FF2B5EF4-FFF2-40B4-BE49-F238E27FC236}">
                  <a16:creationId xmlns:a16="http://schemas.microsoft.com/office/drawing/2014/main" id="{F257B99E-23A0-4CB7-9F26-9CA03F44C46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733804" y="473759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81 w 219"/>
                <a:gd name="T5" fmla="*/ 26 h 219"/>
                <a:gd name="T6" fmla="*/ 202 w 219"/>
                <a:gd name="T7" fmla="*/ 52 h 219"/>
                <a:gd name="T8" fmla="*/ 216 w 219"/>
                <a:gd name="T9" fmla="*/ 84 h 219"/>
                <a:gd name="T10" fmla="*/ 219 w 219"/>
                <a:gd name="T11" fmla="*/ 116 h 219"/>
                <a:gd name="T12" fmla="*/ 210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5 w 219"/>
                <a:gd name="T19" fmla="*/ 217 h 219"/>
                <a:gd name="T20" fmla="*/ 101 w 219"/>
                <a:gd name="T21" fmla="*/ 219 h 219"/>
                <a:gd name="T22" fmla="*/ 69 w 219"/>
                <a:gd name="T23" fmla="*/ 211 h 219"/>
                <a:gd name="T24" fmla="*/ 37 w 219"/>
                <a:gd name="T25" fmla="*/ 193 h 219"/>
                <a:gd name="T26" fmla="*/ 14 w 219"/>
                <a:gd name="T27" fmla="*/ 168 h 219"/>
                <a:gd name="T28" fmla="*/ 3 w 219"/>
                <a:gd name="T29" fmla="*/ 136 h 219"/>
                <a:gd name="T30" fmla="*/ 0 w 219"/>
                <a:gd name="T31" fmla="*/ 101 h 219"/>
                <a:gd name="T32" fmla="*/ 8 w 219"/>
                <a:gd name="T33" fmla="*/ 67 h 219"/>
                <a:gd name="T34" fmla="*/ 26 w 219"/>
                <a:gd name="T35" fmla="*/ 38 h 219"/>
                <a:gd name="T36" fmla="*/ 52 w 219"/>
                <a:gd name="T37" fmla="*/ 15 h 219"/>
                <a:gd name="T38" fmla="*/ 83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81" y="26"/>
                  </a:lnTo>
                  <a:lnTo>
                    <a:pt x="202" y="52"/>
                  </a:lnTo>
                  <a:lnTo>
                    <a:pt x="216" y="84"/>
                  </a:lnTo>
                  <a:lnTo>
                    <a:pt x="219" y="116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7"/>
                  </a:lnTo>
                  <a:lnTo>
                    <a:pt x="101" y="219"/>
                  </a:lnTo>
                  <a:lnTo>
                    <a:pt x="69" y="211"/>
                  </a:lnTo>
                  <a:lnTo>
                    <a:pt x="37" y="193"/>
                  </a:lnTo>
                  <a:lnTo>
                    <a:pt x="14" y="168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8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3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9" name="Freeform 218">
              <a:extLst>
                <a:ext uri="{FF2B5EF4-FFF2-40B4-BE49-F238E27FC236}">
                  <a16:creationId xmlns:a16="http://schemas.microsoft.com/office/drawing/2014/main" id="{16298BA9-64A5-410B-ABF0-6CED65E95B6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943420" y="395353"/>
              <a:ext cx="176013" cy="175213"/>
            </a:xfrm>
            <a:custGeom>
              <a:avLst/>
              <a:gdLst>
                <a:gd name="T0" fmla="*/ 116 w 220"/>
                <a:gd name="T1" fmla="*/ 0 h 219"/>
                <a:gd name="T2" fmla="*/ 150 w 220"/>
                <a:gd name="T3" fmla="*/ 9 h 219"/>
                <a:gd name="T4" fmla="*/ 179 w 220"/>
                <a:gd name="T5" fmla="*/ 26 h 219"/>
                <a:gd name="T6" fmla="*/ 202 w 220"/>
                <a:gd name="T7" fmla="*/ 52 h 219"/>
                <a:gd name="T8" fmla="*/ 217 w 220"/>
                <a:gd name="T9" fmla="*/ 84 h 219"/>
                <a:gd name="T10" fmla="*/ 220 w 220"/>
                <a:gd name="T11" fmla="*/ 119 h 219"/>
                <a:gd name="T12" fmla="*/ 211 w 220"/>
                <a:gd name="T13" fmla="*/ 150 h 219"/>
                <a:gd name="T14" fmla="*/ 194 w 220"/>
                <a:gd name="T15" fmla="*/ 182 h 219"/>
                <a:gd name="T16" fmla="*/ 168 w 220"/>
                <a:gd name="T17" fmla="*/ 202 h 219"/>
                <a:gd name="T18" fmla="*/ 136 w 220"/>
                <a:gd name="T19" fmla="*/ 217 h 219"/>
                <a:gd name="T20" fmla="*/ 104 w 220"/>
                <a:gd name="T21" fmla="*/ 219 h 219"/>
                <a:gd name="T22" fmla="*/ 70 w 220"/>
                <a:gd name="T23" fmla="*/ 211 h 219"/>
                <a:gd name="T24" fmla="*/ 38 w 220"/>
                <a:gd name="T25" fmla="*/ 193 h 219"/>
                <a:gd name="T26" fmla="*/ 18 w 220"/>
                <a:gd name="T27" fmla="*/ 168 h 219"/>
                <a:gd name="T28" fmla="*/ 3 w 220"/>
                <a:gd name="T29" fmla="*/ 139 h 219"/>
                <a:gd name="T30" fmla="*/ 0 w 220"/>
                <a:gd name="T31" fmla="*/ 104 h 219"/>
                <a:gd name="T32" fmla="*/ 9 w 220"/>
                <a:gd name="T33" fmla="*/ 70 h 219"/>
                <a:gd name="T34" fmla="*/ 26 w 220"/>
                <a:gd name="T35" fmla="*/ 41 h 219"/>
                <a:gd name="T36" fmla="*/ 52 w 220"/>
                <a:gd name="T37" fmla="*/ 18 h 219"/>
                <a:gd name="T38" fmla="*/ 84 w 220"/>
                <a:gd name="T39" fmla="*/ 3 h 219"/>
                <a:gd name="T40" fmla="*/ 116 w 220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0" h="219">
                  <a:moveTo>
                    <a:pt x="116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7" y="84"/>
                  </a:lnTo>
                  <a:lnTo>
                    <a:pt x="220" y="119"/>
                  </a:lnTo>
                  <a:lnTo>
                    <a:pt x="211" y="150"/>
                  </a:lnTo>
                  <a:lnTo>
                    <a:pt x="194" y="182"/>
                  </a:lnTo>
                  <a:lnTo>
                    <a:pt x="168" y="202"/>
                  </a:lnTo>
                  <a:lnTo>
                    <a:pt x="136" y="217"/>
                  </a:lnTo>
                  <a:lnTo>
                    <a:pt x="104" y="219"/>
                  </a:lnTo>
                  <a:lnTo>
                    <a:pt x="70" y="211"/>
                  </a:lnTo>
                  <a:lnTo>
                    <a:pt x="38" y="193"/>
                  </a:lnTo>
                  <a:lnTo>
                    <a:pt x="18" y="168"/>
                  </a:lnTo>
                  <a:lnTo>
                    <a:pt x="3" y="139"/>
                  </a:lnTo>
                  <a:lnTo>
                    <a:pt x="0" y="104"/>
                  </a:lnTo>
                  <a:lnTo>
                    <a:pt x="9" y="70"/>
                  </a:lnTo>
                  <a:lnTo>
                    <a:pt x="26" y="41"/>
                  </a:lnTo>
                  <a:lnTo>
                    <a:pt x="52" y="18"/>
                  </a:lnTo>
                  <a:lnTo>
                    <a:pt x="84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0" name="Freeform 219">
              <a:extLst>
                <a:ext uri="{FF2B5EF4-FFF2-40B4-BE49-F238E27FC236}">
                  <a16:creationId xmlns:a16="http://schemas.microsoft.com/office/drawing/2014/main" id="{CE6EA60B-DC48-4A1B-8992-7C51A384564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379451" y="286545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2 w 219"/>
                <a:gd name="T3" fmla="*/ 8 h 219"/>
                <a:gd name="T4" fmla="*/ 181 w 219"/>
                <a:gd name="T5" fmla="*/ 26 h 219"/>
                <a:gd name="T6" fmla="*/ 204 w 219"/>
                <a:gd name="T7" fmla="*/ 52 h 219"/>
                <a:gd name="T8" fmla="*/ 216 w 219"/>
                <a:gd name="T9" fmla="*/ 83 h 219"/>
                <a:gd name="T10" fmla="*/ 219 w 219"/>
                <a:gd name="T11" fmla="*/ 115 h 219"/>
                <a:gd name="T12" fmla="*/ 210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8 w 219"/>
                <a:gd name="T19" fmla="*/ 216 h 219"/>
                <a:gd name="T20" fmla="*/ 103 w 219"/>
                <a:gd name="T21" fmla="*/ 219 h 219"/>
                <a:gd name="T22" fmla="*/ 69 w 219"/>
                <a:gd name="T23" fmla="*/ 210 h 219"/>
                <a:gd name="T24" fmla="*/ 40 w 219"/>
                <a:gd name="T25" fmla="*/ 193 h 219"/>
                <a:gd name="T26" fmla="*/ 17 w 219"/>
                <a:gd name="T27" fmla="*/ 167 h 219"/>
                <a:gd name="T28" fmla="*/ 5 w 219"/>
                <a:gd name="T29" fmla="*/ 135 h 219"/>
                <a:gd name="T30" fmla="*/ 0 w 219"/>
                <a:gd name="T31" fmla="*/ 101 h 219"/>
                <a:gd name="T32" fmla="*/ 8 w 219"/>
                <a:gd name="T33" fmla="*/ 69 h 219"/>
                <a:gd name="T34" fmla="*/ 28 w 219"/>
                <a:gd name="T35" fmla="*/ 37 h 219"/>
                <a:gd name="T36" fmla="*/ 52 w 219"/>
                <a:gd name="T37" fmla="*/ 17 h 219"/>
                <a:gd name="T38" fmla="*/ 83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2" y="8"/>
                  </a:lnTo>
                  <a:lnTo>
                    <a:pt x="181" y="26"/>
                  </a:lnTo>
                  <a:lnTo>
                    <a:pt x="204" y="52"/>
                  </a:lnTo>
                  <a:lnTo>
                    <a:pt x="216" y="83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8" y="216"/>
                  </a:lnTo>
                  <a:lnTo>
                    <a:pt x="103" y="219"/>
                  </a:lnTo>
                  <a:lnTo>
                    <a:pt x="69" y="210"/>
                  </a:lnTo>
                  <a:lnTo>
                    <a:pt x="40" y="193"/>
                  </a:lnTo>
                  <a:lnTo>
                    <a:pt x="17" y="167"/>
                  </a:lnTo>
                  <a:lnTo>
                    <a:pt x="5" y="135"/>
                  </a:lnTo>
                  <a:lnTo>
                    <a:pt x="0" y="101"/>
                  </a:lnTo>
                  <a:lnTo>
                    <a:pt x="8" y="69"/>
                  </a:lnTo>
                  <a:lnTo>
                    <a:pt x="28" y="37"/>
                  </a:lnTo>
                  <a:lnTo>
                    <a:pt x="52" y="17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1" name="Freeform 220">
              <a:extLst>
                <a:ext uri="{FF2B5EF4-FFF2-40B4-BE49-F238E27FC236}">
                  <a16:creationId xmlns:a16="http://schemas.microsoft.com/office/drawing/2014/main" id="{55C1EFC0-6EBD-4150-A263-674C8B4889D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601067" y="259343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81 w 219"/>
                <a:gd name="T5" fmla="*/ 26 h 219"/>
                <a:gd name="T6" fmla="*/ 202 w 219"/>
                <a:gd name="T7" fmla="*/ 52 h 219"/>
                <a:gd name="T8" fmla="*/ 216 w 219"/>
                <a:gd name="T9" fmla="*/ 84 h 219"/>
                <a:gd name="T10" fmla="*/ 219 w 219"/>
                <a:gd name="T11" fmla="*/ 119 h 219"/>
                <a:gd name="T12" fmla="*/ 210 w 219"/>
                <a:gd name="T13" fmla="*/ 150 h 219"/>
                <a:gd name="T14" fmla="*/ 193 w 219"/>
                <a:gd name="T15" fmla="*/ 182 h 219"/>
                <a:gd name="T16" fmla="*/ 167 w 219"/>
                <a:gd name="T17" fmla="*/ 202 h 219"/>
                <a:gd name="T18" fmla="*/ 135 w 219"/>
                <a:gd name="T19" fmla="*/ 217 h 219"/>
                <a:gd name="T20" fmla="*/ 104 w 219"/>
                <a:gd name="T21" fmla="*/ 219 h 219"/>
                <a:gd name="T22" fmla="*/ 69 w 219"/>
                <a:gd name="T23" fmla="*/ 211 h 219"/>
                <a:gd name="T24" fmla="*/ 37 w 219"/>
                <a:gd name="T25" fmla="*/ 194 h 219"/>
                <a:gd name="T26" fmla="*/ 17 w 219"/>
                <a:gd name="T27" fmla="*/ 168 h 219"/>
                <a:gd name="T28" fmla="*/ 3 w 219"/>
                <a:gd name="T29" fmla="*/ 136 h 219"/>
                <a:gd name="T30" fmla="*/ 0 w 219"/>
                <a:gd name="T31" fmla="*/ 104 h 219"/>
                <a:gd name="T32" fmla="*/ 9 w 219"/>
                <a:gd name="T33" fmla="*/ 70 h 219"/>
                <a:gd name="T34" fmla="*/ 26 w 219"/>
                <a:gd name="T35" fmla="*/ 41 h 219"/>
                <a:gd name="T36" fmla="*/ 52 w 219"/>
                <a:gd name="T37" fmla="*/ 18 h 219"/>
                <a:gd name="T38" fmla="*/ 83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81" y="26"/>
                  </a:lnTo>
                  <a:lnTo>
                    <a:pt x="202" y="52"/>
                  </a:lnTo>
                  <a:lnTo>
                    <a:pt x="216" y="84"/>
                  </a:lnTo>
                  <a:lnTo>
                    <a:pt x="219" y="119"/>
                  </a:lnTo>
                  <a:lnTo>
                    <a:pt x="210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5" y="217"/>
                  </a:lnTo>
                  <a:lnTo>
                    <a:pt x="104" y="219"/>
                  </a:lnTo>
                  <a:lnTo>
                    <a:pt x="69" y="211"/>
                  </a:lnTo>
                  <a:lnTo>
                    <a:pt x="37" y="194"/>
                  </a:lnTo>
                  <a:lnTo>
                    <a:pt x="17" y="168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9" y="70"/>
                  </a:lnTo>
                  <a:lnTo>
                    <a:pt x="26" y="41"/>
                  </a:lnTo>
                  <a:lnTo>
                    <a:pt x="52" y="18"/>
                  </a:lnTo>
                  <a:lnTo>
                    <a:pt x="83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2" name="Freeform 221">
              <a:extLst>
                <a:ext uri="{FF2B5EF4-FFF2-40B4-BE49-F238E27FC236}">
                  <a16:creationId xmlns:a16="http://schemas.microsoft.com/office/drawing/2014/main" id="{57A645F4-D090-4341-9868-AEE188B9810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825084" y="247342"/>
              <a:ext cx="175213" cy="175213"/>
            </a:xfrm>
            <a:custGeom>
              <a:avLst/>
              <a:gdLst>
                <a:gd name="T0" fmla="*/ 116 w 219"/>
                <a:gd name="T1" fmla="*/ 0 h 219"/>
                <a:gd name="T2" fmla="*/ 150 w 219"/>
                <a:gd name="T3" fmla="*/ 6 h 219"/>
                <a:gd name="T4" fmla="*/ 182 w 219"/>
                <a:gd name="T5" fmla="*/ 26 h 219"/>
                <a:gd name="T6" fmla="*/ 202 w 219"/>
                <a:gd name="T7" fmla="*/ 52 h 219"/>
                <a:gd name="T8" fmla="*/ 216 w 219"/>
                <a:gd name="T9" fmla="*/ 83 h 219"/>
                <a:gd name="T10" fmla="*/ 219 w 219"/>
                <a:gd name="T11" fmla="*/ 115 h 219"/>
                <a:gd name="T12" fmla="*/ 211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6 w 219"/>
                <a:gd name="T19" fmla="*/ 216 h 219"/>
                <a:gd name="T20" fmla="*/ 104 w 219"/>
                <a:gd name="T21" fmla="*/ 219 h 219"/>
                <a:gd name="T22" fmla="*/ 69 w 219"/>
                <a:gd name="T23" fmla="*/ 210 h 219"/>
                <a:gd name="T24" fmla="*/ 38 w 219"/>
                <a:gd name="T25" fmla="*/ 193 h 219"/>
                <a:gd name="T26" fmla="*/ 18 w 219"/>
                <a:gd name="T27" fmla="*/ 167 h 219"/>
                <a:gd name="T28" fmla="*/ 3 w 219"/>
                <a:gd name="T29" fmla="*/ 135 h 219"/>
                <a:gd name="T30" fmla="*/ 0 w 219"/>
                <a:gd name="T31" fmla="*/ 101 h 219"/>
                <a:gd name="T32" fmla="*/ 9 w 219"/>
                <a:gd name="T33" fmla="*/ 66 h 219"/>
                <a:gd name="T34" fmla="*/ 26 w 219"/>
                <a:gd name="T35" fmla="*/ 37 h 219"/>
                <a:gd name="T36" fmla="*/ 52 w 219"/>
                <a:gd name="T37" fmla="*/ 14 h 219"/>
                <a:gd name="T38" fmla="*/ 84 w 219"/>
                <a:gd name="T39" fmla="*/ 3 h 219"/>
                <a:gd name="T40" fmla="*/ 116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6" y="0"/>
                  </a:moveTo>
                  <a:lnTo>
                    <a:pt x="150" y="6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3"/>
                  </a:lnTo>
                  <a:lnTo>
                    <a:pt x="219" y="115"/>
                  </a:lnTo>
                  <a:lnTo>
                    <a:pt x="211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69" y="210"/>
                  </a:lnTo>
                  <a:lnTo>
                    <a:pt x="38" y="193"/>
                  </a:lnTo>
                  <a:lnTo>
                    <a:pt x="18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9" y="66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4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3" name="Freeform 222">
              <a:extLst>
                <a:ext uri="{FF2B5EF4-FFF2-40B4-BE49-F238E27FC236}">
                  <a16:creationId xmlns:a16="http://schemas.microsoft.com/office/drawing/2014/main" id="{B7A2F107-25B7-46A9-BAB6-C0D45CB0D60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2048300" y="256943"/>
              <a:ext cx="175213" cy="172813"/>
            </a:xfrm>
            <a:custGeom>
              <a:avLst/>
              <a:gdLst>
                <a:gd name="T0" fmla="*/ 115 w 219"/>
                <a:gd name="T1" fmla="*/ 0 h 216"/>
                <a:gd name="T2" fmla="*/ 150 w 219"/>
                <a:gd name="T3" fmla="*/ 9 h 216"/>
                <a:gd name="T4" fmla="*/ 178 w 219"/>
                <a:gd name="T5" fmla="*/ 26 h 216"/>
                <a:gd name="T6" fmla="*/ 201 w 219"/>
                <a:gd name="T7" fmla="*/ 52 h 216"/>
                <a:gd name="T8" fmla="*/ 216 w 219"/>
                <a:gd name="T9" fmla="*/ 81 h 216"/>
                <a:gd name="T10" fmla="*/ 219 w 219"/>
                <a:gd name="T11" fmla="*/ 115 h 216"/>
                <a:gd name="T12" fmla="*/ 210 w 219"/>
                <a:gd name="T13" fmla="*/ 150 h 216"/>
                <a:gd name="T14" fmla="*/ 193 w 219"/>
                <a:gd name="T15" fmla="*/ 179 h 216"/>
                <a:gd name="T16" fmla="*/ 167 w 219"/>
                <a:gd name="T17" fmla="*/ 202 h 216"/>
                <a:gd name="T18" fmla="*/ 135 w 219"/>
                <a:gd name="T19" fmla="*/ 213 h 216"/>
                <a:gd name="T20" fmla="*/ 101 w 219"/>
                <a:gd name="T21" fmla="*/ 216 h 216"/>
                <a:gd name="T22" fmla="*/ 69 w 219"/>
                <a:gd name="T23" fmla="*/ 211 h 216"/>
                <a:gd name="T24" fmla="*/ 37 w 219"/>
                <a:gd name="T25" fmla="*/ 190 h 216"/>
                <a:gd name="T26" fmla="*/ 17 w 219"/>
                <a:gd name="T27" fmla="*/ 167 h 216"/>
                <a:gd name="T28" fmla="*/ 2 w 219"/>
                <a:gd name="T29" fmla="*/ 136 h 216"/>
                <a:gd name="T30" fmla="*/ 0 w 219"/>
                <a:gd name="T31" fmla="*/ 101 h 216"/>
                <a:gd name="T32" fmla="*/ 8 w 219"/>
                <a:gd name="T33" fmla="*/ 66 h 216"/>
                <a:gd name="T34" fmla="*/ 26 w 219"/>
                <a:gd name="T35" fmla="*/ 38 h 216"/>
                <a:gd name="T36" fmla="*/ 51 w 219"/>
                <a:gd name="T37" fmla="*/ 15 h 216"/>
                <a:gd name="T38" fmla="*/ 83 w 219"/>
                <a:gd name="T39" fmla="*/ 3 h 216"/>
                <a:gd name="T40" fmla="*/ 115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5" y="0"/>
                  </a:moveTo>
                  <a:lnTo>
                    <a:pt x="150" y="9"/>
                  </a:lnTo>
                  <a:lnTo>
                    <a:pt x="178" y="26"/>
                  </a:lnTo>
                  <a:lnTo>
                    <a:pt x="201" y="52"/>
                  </a:lnTo>
                  <a:lnTo>
                    <a:pt x="216" y="81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3"/>
                  </a:lnTo>
                  <a:lnTo>
                    <a:pt x="101" y="216"/>
                  </a:lnTo>
                  <a:lnTo>
                    <a:pt x="69" y="211"/>
                  </a:lnTo>
                  <a:lnTo>
                    <a:pt x="37" y="190"/>
                  </a:lnTo>
                  <a:lnTo>
                    <a:pt x="17" y="167"/>
                  </a:lnTo>
                  <a:lnTo>
                    <a:pt x="2" y="136"/>
                  </a:lnTo>
                  <a:lnTo>
                    <a:pt x="0" y="101"/>
                  </a:lnTo>
                  <a:lnTo>
                    <a:pt x="8" y="66"/>
                  </a:lnTo>
                  <a:lnTo>
                    <a:pt x="26" y="38"/>
                  </a:lnTo>
                  <a:lnTo>
                    <a:pt x="51" y="15"/>
                  </a:lnTo>
                  <a:lnTo>
                    <a:pt x="83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4" name="Freeform 223">
              <a:extLst>
                <a:ext uri="{FF2B5EF4-FFF2-40B4-BE49-F238E27FC236}">
                  <a16:creationId xmlns:a16="http://schemas.microsoft.com/office/drawing/2014/main" id="{AFDD6E5B-C6A5-4249-B39E-FCC7F15BEB4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2092303" y="5945358"/>
              <a:ext cx="175213" cy="172813"/>
            </a:xfrm>
            <a:custGeom>
              <a:avLst/>
              <a:gdLst>
                <a:gd name="T0" fmla="*/ 115 w 219"/>
                <a:gd name="T1" fmla="*/ 0 h 216"/>
                <a:gd name="T2" fmla="*/ 150 w 219"/>
                <a:gd name="T3" fmla="*/ 6 h 216"/>
                <a:gd name="T4" fmla="*/ 179 w 219"/>
                <a:gd name="T5" fmla="*/ 26 h 216"/>
                <a:gd name="T6" fmla="*/ 202 w 219"/>
                <a:gd name="T7" fmla="*/ 52 h 216"/>
                <a:gd name="T8" fmla="*/ 216 w 219"/>
                <a:gd name="T9" fmla="*/ 81 h 216"/>
                <a:gd name="T10" fmla="*/ 219 w 219"/>
                <a:gd name="T11" fmla="*/ 115 h 216"/>
                <a:gd name="T12" fmla="*/ 210 w 219"/>
                <a:gd name="T13" fmla="*/ 150 h 216"/>
                <a:gd name="T14" fmla="*/ 193 w 219"/>
                <a:gd name="T15" fmla="*/ 179 h 216"/>
                <a:gd name="T16" fmla="*/ 167 w 219"/>
                <a:gd name="T17" fmla="*/ 202 h 216"/>
                <a:gd name="T18" fmla="*/ 135 w 219"/>
                <a:gd name="T19" fmla="*/ 213 h 216"/>
                <a:gd name="T20" fmla="*/ 101 w 219"/>
                <a:gd name="T21" fmla="*/ 216 h 216"/>
                <a:gd name="T22" fmla="*/ 66 w 219"/>
                <a:gd name="T23" fmla="*/ 210 h 216"/>
                <a:gd name="T24" fmla="*/ 37 w 219"/>
                <a:gd name="T25" fmla="*/ 190 h 216"/>
                <a:gd name="T26" fmla="*/ 17 w 219"/>
                <a:gd name="T27" fmla="*/ 167 h 216"/>
                <a:gd name="T28" fmla="*/ 3 w 219"/>
                <a:gd name="T29" fmla="*/ 135 h 216"/>
                <a:gd name="T30" fmla="*/ 0 w 219"/>
                <a:gd name="T31" fmla="*/ 101 h 216"/>
                <a:gd name="T32" fmla="*/ 8 w 219"/>
                <a:gd name="T33" fmla="*/ 66 h 216"/>
                <a:gd name="T34" fmla="*/ 26 w 219"/>
                <a:gd name="T35" fmla="*/ 37 h 216"/>
                <a:gd name="T36" fmla="*/ 52 w 219"/>
                <a:gd name="T37" fmla="*/ 14 h 216"/>
                <a:gd name="T38" fmla="*/ 83 w 219"/>
                <a:gd name="T39" fmla="*/ 3 h 216"/>
                <a:gd name="T40" fmla="*/ 115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5" y="0"/>
                  </a:moveTo>
                  <a:lnTo>
                    <a:pt x="150" y="6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6" y="81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3"/>
                  </a:lnTo>
                  <a:lnTo>
                    <a:pt x="101" y="216"/>
                  </a:lnTo>
                  <a:lnTo>
                    <a:pt x="66" y="210"/>
                  </a:lnTo>
                  <a:lnTo>
                    <a:pt x="37" y="190"/>
                  </a:lnTo>
                  <a:lnTo>
                    <a:pt x="17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8" y="66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3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5" name="Freeform 224">
              <a:extLst>
                <a:ext uri="{FF2B5EF4-FFF2-40B4-BE49-F238E27FC236}">
                  <a16:creationId xmlns:a16="http://schemas.microsoft.com/office/drawing/2014/main" id="{CDE023F1-3CDF-4D57-83D0-46C42B934AC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868287" y="5954158"/>
              <a:ext cx="176013" cy="175213"/>
            </a:xfrm>
            <a:custGeom>
              <a:avLst/>
              <a:gdLst>
                <a:gd name="T0" fmla="*/ 116 w 220"/>
                <a:gd name="T1" fmla="*/ 0 h 219"/>
                <a:gd name="T2" fmla="*/ 150 w 220"/>
                <a:gd name="T3" fmla="*/ 8 h 219"/>
                <a:gd name="T4" fmla="*/ 179 w 220"/>
                <a:gd name="T5" fmla="*/ 26 h 219"/>
                <a:gd name="T6" fmla="*/ 202 w 220"/>
                <a:gd name="T7" fmla="*/ 51 h 219"/>
                <a:gd name="T8" fmla="*/ 217 w 220"/>
                <a:gd name="T9" fmla="*/ 83 h 219"/>
                <a:gd name="T10" fmla="*/ 220 w 220"/>
                <a:gd name="T11" fmla="*/ 115 h 219"/>
                <a:gd name="T12" fmla="*/ 211 w 220"/>
                <a:gd name="T13" fmla="*/ 149 h 219"/>
                <a:gd name="T14" fmla="*/ 194 w 220"/>
                <a:gd name="T15" fmla="*/ 181 h 219"/>
                <a:gd name="T16" fmla="*/ 168 w 220"/>
                <a:gd name="T17" fmla="*/ 201 h 219"/>
                <a:gd name="T18" fmla="*/ 136 w 220"/>
                <a:gd name="T19" fmla="*/ 216 h 219"/>
                <a:gd name="T20" fmla="*/ 101 w 220"/>
                <a:gd name="T21" fmla="*/ 219 h 219"/>
                <a:gd name="T22" fmla="*/ 70 w 220"/>
                <a:gd name="T23" fmla="*/ 210 h 219"/>
                <a:gd name="T24" fmla="*/ 38 w 220"/>
                <a:gd name="T25" fmla="*/ 193 h 219"/>
                <a:gd name="T26" fmla="*/ 18 w 220"/>
                <a:gd name="T27" fmla="*/ 167 h 219"/>
                <a:gd name="T28" fmla="*/ 3 w 220"/>
                <a:gd name="T29" fmla="*/ 135 h 219"/>
                <a:gd name="T30" fmla="*/ 0 w 220"/>
                <a:gd name="T31" fmla="*/ 103 h 219"/>
                <a:gd name="T32" fmla="*/ 9 w 220"/>
                <a:gd name="T33" fmla="*/ 69 h 219"/>
                <a:gd name="T34" fmla="*/ 26 w 220"/>
                <a:gd name="T35" fmla="*/ 37 h 219"/>
                <a:gd name="T36" fmla="*/ 52 w 220"/>
                <a:gd name="T37" fmla="*/ 17 h 219"/>
                <a:gd name="T38" fmla="*/ 84 w 220"/>
                <a:gd name="T39" fmla="*/ 2 h 219"/>
                <a:gd name="T40" fmla="*/ 116 w 220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0" h="219">
                  <a:moveTo>
                    <a:pt x="116" y="0"/>
                  </a:moveTo>
                  <a:lnTo>
                    <a:pt x="150" y="8"/>
                  </a:lnTo>
                  <a:lnTo>
                    <a:pt x="179" y="26"/>
                  </a:lnTo>
                  <a:lnTo>
                    <a:pt x="202" y="51"/>
                  </a:lnTo>
                  <a:lnTo>
                    <a:pt x="217" y="83"/>
                  </a:lnTo>
                  <a:lnTo>
                    <a:pt x="220" y="115"/>
                  </a:lnTo>
                  <a:lnTo>
                    <a:pt x="211" y="149"/>
                  </a:lnTo>
                  <a:lnTo>
                    <a:pt x="194" y="181"/>
                  </a:lnTo>
                  <a:lnTo>
                    <a:pt x="168" y="201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70" y="210"/>
                  </a:lnTo>
                  <a:lnTo>
                    <a:pt x="38" y="193"/>
                  </a:lnTo>
                  <a:lnTo>
                    <a:pt x="18" y="167"/>
                  </a:lnTo>
                  <a:lnTo>
                    <a:pt x="3" y="135"/>
                  </a:lnTo>
                  <a:lnTo>
                    <a:pt x="0" y="103"/>
                  </a:lnTo>
                  <a:lnTo>
                    <a:pt x="9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4" y="2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6" name="Freeform 225">
              <a:extLst>
                <a:ext uri="{FF2B5EF4-FFF2-40B4-BE49-F238E27FC236}">
                  <a16:creationId xmlns:a16="http://schemas.microsoft.com/office/drawing/2014/main" id="{E16E17D4-626A-4ACD-9B17-C44BC905DAD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645071" y="5947758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82 w 219"/>
                <a:gd name="T5" fmla="*/ 26 h 219"/>
                <a:gd name="T6" fmla="*/ 202 w 219"/>
                <a:gd name="T7" fmla="*/ 52 h 219"/>
                <a:gd name="T8" fmla="*/ 216 w 219"/>
                <a:gd name="T9" fmla="*/ 84 h 219"/>
                <a:gd name="T10" fmla="*/ 219 w 219"/>
                <a:gd name="T11" fmla="*/ 116 h 219"/>
                <a:gd name="T12" fmla="*/ 211 w 219"/>
                <a:gd name="T13" fmla="*/ 150 h 219"/>
                <a:gd name="T14" fmla="*/ 193 w 219"/>
                <a:gd name="T15" fmla="*/ 182 h 219"/>
                <a:gd name="T16" fmla="*/ 167 w 219"/>
                <a:gd name="T17" fmla="*/ 202 h 219"/>
                <a:gd name="T18" fmla="*/ 136 w 219"/>
                <a:gd name="T19" fmla="*/ 216 h 219"/>
                <a:gd name="T20" fmla="*/ 104 w 219"/>
                <a:gd name="T21" fmla="*/ 219 h 219"/>
                <a:gd name="T22" fmla="*/ 69 w 219"/>
                <a:gd name="T23" fmla="*/ 211 h 219"/>
                <a:gd name="T24" fmla="*/ 38 w 219"/>
                <a:gd name="T25" fmla="*/ 193 h 219"/>
                <a:gd name="T26" fmla="*/ 17 w 219"/>
                <a:gd name="T27" fmla="*/ 167 h 219"/>
                <a:gd name="T28" fmla="*/ 3 w 219"/>
                <a:gd name="T29" fmla="*/ 136 h 219"/>
                <a:gd name="T30" fmla="*/ 0 w 219"/>
                <a:gd name="T31" fmla="*/ 104 h 219"/>
                <a:gd name="T32" fmla="*/ 9 w 219"/>
                <a:gd name="T33" fmla="*/ 69 h 219"/>
                <a:gd name="T34" fmla="*/ 26 w 219"/>
                <a:gd name="T35" fmla="*/ 38 h 219"/>
                <a:gd name="T36" fmla="*/ 52 w 219"/>
                <a:gd name="T37" fmla="*/ 18 h 219"/>
                <a:gd name="T38" fmla="*/ 84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4"/>
                  </a:lnTo>
                  <a:lnTo>
                    <a:pt x="219" y="116"/>
                  </a:lnTo>
                  <a:lnTo>
                    <a:pt x="211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69" y="211"/>
                  </a:lnTo>
                  <a:lnTo>
                    <a:pt x="38" y="193"/>
                  </a:lnTo>
                  <a:lnTo>
                    <a:pt x="17" y="167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38"/>
                  </a:lnTo>
                  <a:lnTo>
                    <a:pt x="52" y="18"/>
                  </a:lnTo>
                  <a:lnTo>
                    <a:pt x="84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7" name="Freeform 226">
              <a:extLst>
                <a:ext uri="{FF2B5EF4-FFF2-40B4-BE49-F238E27FC236}">
                  <a16:creationId xmlns:a16="http://schemas.microsoft.com/office/drawing/2014/main" id="{8953834B-62D8-4FE9-A036-D2664F6DE86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421054" y="5924556"/>
              <a:ext cx="175213" cy="172813"/>
            </a:xfrm>
            <a:custGeom>
              <a:avLst/>
              <a:gdLst>
                <a:gd name="T0" fmla="*/ 115 w 219"/>
                <a:gd name="T1" fmla="*/ 0 h 216"/>
                <a:gd name="T2" fmla="*/ 150 w 219"/>
                <a:gd name="T3" fmla="*/ 9 h 216"/>
                <a:gd name="T4" fmla="*/ 178 w 219"/>
                <a:gd name="T5" fmla="*/ 26 h 216"/>
                <a:gd name="T6" fmla="*/ 202 w 219"/>
                <a:gd name="T7" fmla="*/ 52 h 216"/>
                <a:gd name="T8" fmla="*/ 213 w 219"/>
                <a:gd name="T9" fmla="*/ 81 h 216"/>
                <a:gd name="T10" fmla="*/ 219 w 219"/>
                <a:gd name="T11" fmla="*/ 115 h 216"/>
                <a:gd name="T12" fmla="*/ 210 w 219"/>
                <a:gd name="T13" fmla="*/ 150 h 216"/>
                <a:gd name="T14" fmla="*/ 193 w 219"/>
                <a:gd name="T15" fmla="*/ 179 h 216"/>
                <a:gd name="T16" fmla="*/ 167 w 219"/>
                <a:gd name="T17" fmla="*/ 202 h 216"/>
                <a:gd name="T18" fmla="*/ 135 w 219"/>
                <a:gd name="T19" fmla="*/ 213 h 216"/>
                <a:gd name="T20" fmla="*/ 101 w 219"/>
                <a:gd name="T21" fmla="*/ 216 h 216"/>
                <a:gd name="T22" fmla="*/ 66 w 219"/>
                <a:gd name="T23" fmla="*/ 210 h 216"/>
                <a:gd name="T24" fmla="*/ 37 w 219"/>
                <a:gd name="T25" fmla="*/ 190 h 216"/>
                <a:gd name="T26" fmla="*/ 14 w 219"/>
                <a:gd name="T27" fmla="*/ 167 h 216"/>
                <a:gd name="T28" fmla="*/ 3 w 219"/>
                <a:gd name="T29" fmla="*/ 135 h 216"/>
                <a:gd name="T30" fmla="*/ 0 w 219"/>
                <a:gd name="T31" fmla="*/ 101 h 216"/>
                <a:gd name="T32" fmla="*/ 5 w 219"/>
                <a:gd name="T33" fmla="*/ 69 h 216"/>
                <a:gd name="T34" fmla="*/ 26 w 219"/>
                <a:gd name="T35" fmla="*/ 37 h 216"/>
                <a:gd name="T36" fmla="*/ 52 w 219"/>
                <a:gd name="T37" fmla="*/ 14 h 216"/>
                <a:gd name="T38" fmla="*/ 80 w 219"/>
                <a:gd name="T39" fmla="*/ 3 h 216"/>
                <a:gd name="T40" fmla="*/ 115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5" y="0"/>
                  </a:moveTo>
                  <a:lnTo>
                    <a:pt x="150" y="9"/>
                  </a:lnTo>
                  <a:lnTo>
                    <a:pt x="178" y="26"/>
                  </a:lnTo>
                  <a:lnTo>
                    <a:pt x="202" y="52"/>
                  </a:lnTo>
                  <a:lnTo>
                    <a:pt x="213" y="81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3"/>
                  </a:lnTo>
                  <a:lnTo>
                    <a:pt x="101" y="216"/>
                  </a:lnTo>
                  <a:lnTo>
                    <a:pt x="66" y="210"/>
                  </a:lnTo>
                  <a:lnTo>
                    <a:pt x="37" y="190"/>
                  </a:lnTo>
                  <a:lnTo>
                    <a:pt x="14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5" y="69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0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8" name="Freeform 227">
              <a:extLst>
                <a:ext uri="{FF2B5EF4-FFF2-40B4-BE49-F238E27FC236}">
                  <a16:creationId xmlns:a16="http://schemas.microsoft.com/office/drawing/2014/main" id="{EC3EB7AE-FCE0-4E54-A564-1FF9AAB5E12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985022" y="5820548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49 w 219"/>
                <a:gd name="T3" fmla="*/ 6 h 219"/>
                <a:gd name="T4" fmla="*/ 178 w 219"/>
                <a:gd name="T5" fmla="*/ 26 h 219"/>
                <a:gd name="T6" fmla="*/ 201 w 219"/>
                <a:gd name="T7" fmla="*/ 52 h 219"/>
                <a:gd name="T8" fmla="*/ 216 w 219"/>
                <a:gd name="T9" fmla="*/ 80 h 219"/>
                <a:gd name="T10" fmla="*/ 219 w 219"/>
                <a:gd name="T11" fmla="*/ 115 h 219"/>
                <a:gd name="T12" fmla="*/ 210 w 219"/>
                <a:gd name="T13" fmla="*/ 150 h 219"/>
                <a:gd name="T14" fmla="*/ 193 w 219"/>
                <a:gd name="T15" fmla="*/ 178 h 219"/>
                <a:gd name="T16" fmla="*/ 167 w 219"/>
                <a:gd name="T17" fmla="*/ 201 h 219"/>
                <a:gd name="T18" fmla="*/ 135 w 219"/>
                <a:gd name="T19" fmla="*/ 213 h 219"/>
                <a:gd name="T20" fmla="*/ 100 w 219"/>
                <a:gd name="T21" fmla="*/ 219 h 219"/>
                <a:gd name="T22" fmla="*/ 66 w 219"/>
                <a:gd name="T23" fmla="*/ 210 h 219"/>
                <a:gd name="T24" fmla="*/ 37 w 219"/>
                <a:gd name="T25" fmla="*/ 190 h 219"/>
                <a:gd name="T26" fmla="*/ 14 w 219"/>
                <a:gd name="T27" fmla="*/ 167 h 219"/>
                <a:gd name="T28" fmla="*/ 2 w 219"/>
                <a:gd name="T29" fmla="*/ 135 h 219"/>
                <a:gd name="T30" fmla="*/ 0 w 219"/>
                <a:gd name="T31" fmla="*/ 101 h 219"/>
                <a:gd name="T32" fmla="*/ 8 w 219"/>
                <a:gd name="T33" fmla="*/ 66 h 219"/>
                <a:gd name="T34" fmla="*/ 26 w 219"/>
                <a:gd name="T35" fmla="*/ 37 h 219"/>
                <a:gd name="T36" fmla="*/ 51 w 219"/>
                <a:gd name="T37" fmla="*/ 14 h 219"/>
                <a:gd name="T38" fmla="*/ 83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49" y="6"/>
                  </a:lnTo>
                  <a:lnTo>
                    <a:pt x="178" y="26"/>
                  </a:lnTo>
                  <a:lnTo>
                    <a:pt x="201" y="52"/>
                  </a:lnTo>
                  <a:lnTo>
                    <a:pt x="216" y="80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78"/>
                  </a:lnTo>
                  <a:lnTo>
                    <a:pt x="167" y="201"/>
                  </a:lnTo>
                  <a:lnTo>
                    <a:pt x="135" y="213"/>
                  </a:lnTo>
                  <a:lnTo>
                    <a:pt x="100" y="219"/>
                  </a:lnTo>
                  <a:lnTo>
                    <a:pt x="66" y="210"/>
                  </a:lnTo>
                  <a:lnTo>
                    <a:pt x="37" y="190"/>
                  </a:lnTo>
                  <a:lnTo>
                    <a:pt x="14" y="167"/>
                  </a:lnTo>
                  <a:lnTo>
                    <a:pt x="2" y="135"/>
                  </a:lnTo>
                  <a:lnTo>
                    <a:pt x="0" y="101"/>
                  </a:lnTo>
                  <a:lnTo>
                    <a:pt x="8" y="66"/>
                  </a:lnTo>
                  <a:lnTo>
                    <a:pt x="26" y="37"/>
                  </a:lnTo>
                  <a:lnTo>
                    <a:pt x="51" y="14"/>
                  </a:lnTo>
                  <a:lnTo>
                    <a:pt x="83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9" name="Freeform 228">
              <a:extLst>
                <a:ext uri="{FF2B5EF4-FFF2-40B4-BE49-F238E27FC236}">
                  <a16:creationId xmlns:a16="http://schemas.microsoft.com/office/drawing/2014/main" id="{5466DB9D-45E3-4BBD-B8E7-1922401A485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775407" y="5746943"/>
              <a:ext cx="175213" cy="172813"/>
            </a:xfrm>
            <a:custGeom>
              <a:avLst/>
              <a:gdLst>
                <a:gd name="T0" fmla="*/ 118 w 219"/>
                <a:gd name="T1" fmla="*/ 0 h 216"/>
                <a:gd name="T2" fmla="*/ 150 w 219"/>
                <a:gd name="T3" fmla="*/ 6 h 216"/>
                <a:gd name="T4" fmla="*/ 182 w 219"/>
                <a:gd name="T5" fmla="*/ 26 h 216"/>
                <a:gd name="T6" fmla="*/ 202 w 219"/>
                <a:gd name="T7" fmla="*/ 52 h 216"/>
                <a:gd name="T8" fmla="*/ 216 w 219"/>
                <a:gd name="T9" fmla="*/ 81 h 216"/>
                <a:gd name="T10" fmla="*/ 219 w 219"/>
                <a:gd name="T11" fmla="*/ 115 h 216"/>
                <a:gd name="T12" fmla="*/ 210 w 219"/>
                <a:gd name="T13" fmla="*/ 150 h 216"/>
                <a:gd name="T14" fmla="*/ 193 w 219"/>
                <a:gd name="T15" fmla="*/ 179 h 216"/>
                <a:gd name="T16" fmla="*/ 167 w 219"/>
                <a:gd name="T17" fmla="*/ 202 h 216"/>
                <a:gd name="T18" fmla="*/ 135 w 219"/>
                <a:gd name="T19" fmla="*/ 213 h 216"/>
                <a:gd name="T20" fmla="*/ 104 w 219"/>
                <a:gd name="T21" fmla="*/ 216 h 216"/>
                <a:gd name="T22" fmla="*/ 69 w 219"/>
                <a:gd name="T23" fmla="*/ 207 h 216"/>
                <a:gd name="T24" fmla="*/ 40 w 219"/>
                <a:gd name="T25" fmla="*/ 190 h 216"/>
                <a:gd name="T26" fmla="*/ 17 w 219"/>
                <a:gd name="T27" fmla="*/ 164 h 216"/>
                <a:gd name="T28" fmla="*/ 3 w 219"/>
                <a:gd name="T29" fmla="*/ 135 h 216"/>
                <a:gd name="T30" fmla="*/ 0 w 219"/>
                <a:gd name="T31" fmla="*/ 101 h 216"/>
                <a:gd name="T32" fmla="*/ 9 w 219"/>
                <a:gd name="T33" fmla="*/ 66 h 216"/>
                <a:gd name="T34" fmla="*/ 26 w 219"/>
                <a:gd name="T35" fmla="*/ 37 h 216"/>
                <a:gd name="T36" fmla="*/ 52 w 219"/>
                <a:gd name="T37" fmla="*/ 14 h 216"/>
                <a:gd name="T38" fmla="*/ 84 w 219"/>
                <a:gd name="T39" fmla="*/ 3 h 216"/>
                <a:gd name="T40" fmla="*/ 118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8" y="0"/>
                  </a:moveTo>
                  <a:lnTo>
                    <a:pt x="150" y="6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1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3"/>
                  </a:lnTo>
                  <a:lnTo>
                    <a:pt x="104" y="216"/>
                  </a:lnTo>
                  <a:lnTo>
                    <a:pt x="69" y="207"/>
                  </a:lnTo>
                  <a:lnTo>
                    <a:pt x="40" y="190"/>
                  </a:lnTo>
                  <a:lnTo>
                    <a:pt x="17" y="164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9" y="66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4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20" name="Freeform 229">
              <a:extLst>
                <a:ext uri="{FF2B5EF4-FFF2-40B4-BE49-F238E27FC236}">
                  <a16:creationId xmlns:a16="http://schemas.microsoft.com/office/drawing/2014/main" id="{85CA2221-A2A3-4336-B6EA-E84E5EFCC60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569792" y="5654936"/>
              <a:ext cx="176013" cy="172813"/>
            </a:xfrm>
            <a:custGeom>
              <a:avLst/>
              <a:gdLst>
                <a:gd name="T0" fmla="*/ 116 w 220"/>
                <a:gd name="T1" fmla="*/ 0 h 216"/>
                <a:gd name="T2" fmla="*/ 150 w 220"/>
                <a:gd name="T3" fmla="*/ 6 h 216"/>
                <a:gd name="T4" fmla="*/ 179 w 220"/>
                <a:gd name="T5" fmla="*/ 26 h 216"/>
                <a:gd name="T6" fmla="*/ 202 w 220"/>
                <a:gd name="T7" fmla="*/ 52 h 216"/>
                <a:gd name="T8" fmla="*/ 217 w 220"/>
                <a:gd name="T9" fmla="*/ 81 h 216"/>
                <a:gd name="T10" fmla="*/ 220 w 220"/>
                <a:gd name="T11" fmla="*/ 115 h 216"/>
                <a:gd name="T12" fmla="*/ 211 w 220"/>
                <a:gd name="T13" fmla="*/ 150 h 216"/>
                <a:gd name="T14" fmla="*/ 191 w 220"/>
                <a:gd name="T15" fmla="*/ 179 h 216"/>
                <a:gd name="T16" fmla="*/ 168 w 220"/>
                <a:gd name="T17" fmla="*/ 202 h 216"/>
                <a:gd name="T18" fmla="*/ 136 w 220"/>
                <a:gd name="T19" fmla="*/ 213 h 216"/>
                <a:gd name="T20" fmla="*/ 101 w 220"/>
                <a:gd name="T21" fmla="*/ 216 h 216"/>
                <a:gd name="T22" fmla="*/ 70 w 220"/>
                <a:gd name="T23" fmla="*/ 211 h 216"/>
                <a:gd name="T24" fmla="*/ 38 w 220"/>
                <a:gd name="T25" fmla="*/ 190 h 216"/>
                <a:gd name="T26" fmla="*/ 15 w 220"/>
                <a:gd name="T27" fmla="*/ 164 h 216"/>
                <a:gd name="T28" fmla="*/ 3 w 220"/>
                <a:gd name="T29" fmla="*/ 136 h 216"/>
                <a:gd name="T30" fmla="*/ 0 w 220"/>
                <a:gd name="T31" fmla="*/ 101 h 216"/>
                <a:gd name="T32" fmla="*/ 9 w 220"/>
                <a:gd name="T33" fmla="*/ 66 h 216"/>
                <a:gd name="T34" fmla="*/ 26 w 220"/>
                <a:gd name="T35" fmla="*/ 38 h 216"/>
                <a:gd name="T36" fmla="*/ 52 w 220"/>
                <a:gd name="T37" fmla="*/ 15 h 216"/>
                <a:gd name="T38" fmla="*/ 81 w 220"/>
                <a:gd name="T39" fmla="*/ 3 h 216"/>
                <a:gd name="T40" fmla="*/ 116 w 220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0" h="216">
                  <a:moveTo>
                    <a:pt x="116" y="0"/>
                  </a:moveTo>
                  <a:lnTo>
                    <a:pt x="150" y="6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7" y="81"/>
                  </a:lnTo>
                  <a:lnTo>
                    <a:pt x="220" y="115"/>
                  </a:lnTo>
                  <a:lnTo>
                    <a:pt x="211" y="150"/>
                  </a:lnTo>
                  <a:lnTo>
                    <a:pt x="191" y="179"/>
                  </a:lnTo>
                  <a:lnTo>
                    <a:pt x="168" y="202"/>
                  </a:lnTo>
                  <a:lnTo>
                    <a:pt x="136" y="213"/>
                  </a:lnTo>
                  <a:lnTo>
                    <a:pt x="101" y="216"/>
                  </a:lnTo>
                  <a:lnTo>
                    <a:pt x="70" y="211"/>
                  </a:lnTo>
                  <a:lnTo>
                    <a:pt x="38" y="190"/>
                  </a:lnTo>
                  <a:lnTo>
                    <a:pt x="15" y="164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9" y="66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1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21" name="Freeform 230">
              <a:extLst>
                <a:ext uri="{FF2B5EF4-FFF2-40B4-BE49-F238E27FC236}">
                  <a16:creationId xmlns:a16="http://schemas.microsoft.com/office/drawing/2014/main" id="{43CA6FE9-549B-45F8-A1C8-24473B3256B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373778" y="5546128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49 w 219"/>
                <a:gd name="T3" fmla="*/ 8 h 219"/>
                <a:gd name="T4" fmla="*/ 178 w 219"/>
                <a:gd name="T5" fmla="*/ 26 h 219"/>
                <a:gd name="T6" fmla="*/ 201 w 219"/>
                <a:gd name="T7" fmla="*/ 52 h 219"/>
                <a:gd name="T8" fmla="*/ 216 w 219"/>
                <a:gd name="T9" fmla="*/ 83 h 219"/>
                <a:gd name="T10" fmla="*/ 219 w 219"/>
                <a:gd name="T11" fmla="*/ 118 h 219"/>
                <a:gd name="T12" fmla="*/ 210 w 219"/>
                <a:gd name="T13" fmla="*/ 152 h 219"/>
                <a:gd name="T14" fmla="*/ 193 w 219"/>
                <a:gd name="T15" fmla="*/ 181 h 219"/>
                <a:gd name="T16" fmla="*/ 167 w 219"/>
                <a:gd name="T17" fmla="*/ 204 h 219"/>
                <a:gd name="T18" fmla="*/ 135 w 219"/>
                <a:gd name="T19" fmla="*/ 216 h 219"/>
                <a:gd name="T20" fmla="*/ 100 w 219"/>
                <a:gd name="T21" fmla="*/ 219 h 219"/>
                <a:gd name="T22" fmla="*/ 66 w 219"/>
                <a:gd name="T23" fmla="*/ 210 h 219"/>
                <a:gd name="T24" fmla="*/ 37 w 219"/>
                <a:gd name="T25" fmla="*/ 193 h 219"/>
                <a:gd name="T26" fmla="*/ 17 w 219"/>
                <a:gd name="T27" fmla="*/ 167 h 219"/>
                <a:gd name="T28" fmla="*/ 2 w 219"/>
                <a:gd name="T29" fmla="*/ 138 h 219"/>
                <a:gd name="T30" fmla="*/ 0 w 219"/>
                <a:gd name="T31" fmla="*/ 103 h 219"/>
                <a:gd name="T32" fmla="*/ 8 w 219"/>
                <a:gd name="T33" fmla="*/ 69 h 219"/>
                <a:gd name="T34" fmla="*/ 25 w 219"/>
                <a:gd name="T35" fmla="*/ 40 h 219"/>
                <a:gd name="T36" fmla="*/ 51 w 219"/>
                <a:gd name="T37" fmla="*/ 17 h 219"/>
                <a:gd name="T38" fmla="*/ 83 w 219"/>
                <a:gd name="T39" fmla="*/ 5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49" y="8"/>
                  </a:lnTo>
                  <a:lnTo>
                    <a:pt x="178" y="26"/>
                  </a:lnTo>
                  <a:lnTo>
                    <a:pt x="201" y="52"/>
                  </a:lnTo>
                  <a:lnTo>
                    <a:pt x="216" y="83"/>
                  </a:lnTo>
                  <a:lnTo>
                    <a:pt x="219" y="118"/>
                  </a:lnTo>
                  <a:lnTo>
                    <a:pt x="210" y="152"/>
                  </a:lnTo>
                  <a:lnTo>
                    <a:pt x="193" y="181"/>
                  </a:lnTo>
                  <a:lnTo>
                    <a:pt x="167" y="204"/>
                  </a:lnTo>
                  <a:lnTo>
                    <a:pt x="135" y="216"/>
                  </a:lnTo>
                  <a:lnTo>
                    <a:pt x="100" y="219"/>
                  </a:lnTo>
                  <a:lnTo>
                    <a:pt x="66" y="210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2" y="138"/>
                  </a:lnTo>
                  <a:lnTo>
                    <a:pt x="0" y="103"/>
                  </a:lnTo>
                  <a:lnTo>
                    <a:pt x="8" y="69"/>
                  </a:lnTo>
                  <a:lnTo>
                    <a:pt x="25" y="40"/>
                  </a:lnTo>
                  <a:lnTo>
                    <a:pt x="51" y="17"/>
                  </a:lnTo>
                  <a:lnTo>
                    <a:pt x="83" y="5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22" name="Freeform 231">
              <a:extLst>
                <a:ext uri="{FF2B5EF4-FFF2-40B4-BE49-F238E27FC236}">
                  <a16:creationId xmlns:a16="http://schemas.microsoft.com/office/drawing/2014/main" id="{CDE5BEE2-D8B1-46B0-B78F-755E9A7C4EC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187365" y="5422119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6 h 219"/>
                <a:gd name="T4" fmla="*/ 182 w 219"/>
                <a:gd name="T5" fmla="*/ 26 h 219"/>
                <a:gd name="T6" fmla="*/ 202 w 219"/>
                <a:gd name="T7" fmla="*/ 52 h 219"/>
                <a:gd name="T8" fmla="*/ 216 w 219"/>
                <a:gd name="T9" fmla="*/ 81 h 219"/>
                <a:gd name="T10" fmla="*/ 219 w 219"/>
                <a:gd name="T11" fmla="*/ 116 h 219"/>
                <a:gd name="T12" fmla="*/ 210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6 w 219"/>
                <a:gd name="T19" fmla="*/ 217 h 219"/>
                <a:gd name="T20" fmla="*/ 104 w 219"/>
                <a:gd name="T21" fmla="*/ 219 h 219"/>
                <a:gd name="T22" fmla="*/ 69 w 219"/>
                <a:gd name="T23" fmla="*/ 211 h 219"/>
                <a:gd name="T24" fmla="*/ 38 w 219"/>
                <a:gd name="T25" fmla="*/ 193 h 219"/>
                <a:gd name="T26" fmla="*/ 17 w 219"/>
                <a:gd name="T27" fmla="*/ 168 h 219"/>
                <a:gd name="T28" fmla="*/ 3 w 219"/>
                <a:gd name="T29" fmla="*/ 136 h 219"/>
                <a:gd name="T30" fmla="*/ 0 w 219"/>
                <a:gd name="T31" fmla="*/ 101 h 219"/>
                <a:gd name="T32" fmla="*/ 9 w 219"/>
                <a:gd name="T33" fmla="*/ 67 h 219"/>
                <a:gd name="T34" fmla="*/ 26 w 219"/>
                <a:gd name="T35" fmla="*/ 38 h 219"/>
                <a:gd name="T36" fmla="*/ 52 w 219"/>
                <a:gd name="T37" fmla="*/ 15 h 219"/>
                <a:gd name="T38" fmla="*/ 84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6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1"/>
                  </a:lnTo>
                  <a:lnTo>
                    <a:pt x="219" y="116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6" y="217"/>
                  </a:lnTo>
                  <a:lnTo>
                    <a:pt x="104" y="219"/>
                  </a:lnTo>
                  <a:lnTo>
                    <a:pt x="69" y="211"/>
                  </a:lnTo>
                  <a:lnTo>
                    <a:pt x="38" y="193"/>
                  </a:lnTo>
                  <a:lnTo>
                    <a:pt x="17" y="168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9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4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23" name="Freeform 232">
              <a:extLst>
                <a:ext uri="{FF2B5EF4-FFF2-40B4-BE49-F238E27FC236}">
                  <a16:creationId xmlns:a16="http://schemas.microsoft.com/office/drawing/2014/main" id="{7515E0D5-CFC0-49F2-9752-5E5BC4C5E19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009752" y="5286109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79 w 219"/>
                <a:gd name="T5" fmla="*/ 26 h 219"/>
                <a:gd name="T6" fmla="*/ 202 w 219"/>
                <a:gd name="T7" fmla="*/ 52 h 219"/>
                <a:gd name="T8" fmla="*/ 216 w 219"/>
                <a:gd name="T9" fmla="*/ 84 h 219"/>
                <a:gd name="T10" fmla="*/ 219 w 219"/>
                <a:gd name="T11" fmla="*/ 119 h 219"/>
                <a:gd name="T12" fmla="*/ 210 w 219"/>
                <a:gd name="T13" fmla="*/ 150 h 219"/>
                <a:gd name="T14" fmla="*/ 193 w 219"/>
                <a:gd name="T15" fmla="*/ 182 h 219"/>
                <a:gd name="T16" fmla="*/ 167 w 219"/>
                <a:gd name="T17" fmla="*/ 202 h 219"/>
                <a:gd name="T18" fmla="*/ 136 w 219"/>
                <a:gd name="T19" fmla="*/ 217 h 219"/>
                <a:gd name="T20" fmla="*/ 101 w 219"/>
                <a:gd name="T21" fmla="*/ 219 h 219"/>
                <a:gd name="T22" fmla="*/ 69 w 219"/>
                <a:gd name="T23" fmla="*/ 211 h 219"/>
                <a:gd name="T24" fmla="*/ 37 w 219"/>
                <a:gd name="T25" fmla="*/ 194 h 219"/>
                <a:gd name="T26" fmla="*/ 17 w 219"/>
                <a:gd name="T27" fmla="*/ 168 h 219"/>
                <a:gd name="T28" fmla="*/ 3 w 219"/>
                <a:gd name="T29" fmla="*/ 136 h 219"/>
                <a:gd name="T30" fmla="*/ 0 w 219"/>
                <a:gd name="T31" fmla="*/ 104 h 219"/>
                <a:gd name="T32" fmla="*/ 9 w 219"/>
                <a:gd name="T33" fmla="*/ 70 h 219"/>
                <a:gd name="T34" fmla="*/ 26 w 219"/>
                <a:gd name="T35" fmla="*/ 41 h 219"/>
                <a:gd name="T36" fmla="*/ 52 w 219"/>
                <a:gd name="T37" fmla="*/ 18 h 219"/>
                <a:gd name="T38" fmla="*/ 84 w 219"/>
                <a:gd name="T39" fmla="*/ 6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6" y="84"/>
                  </a:lnTo>
                  <a:lnTo>
                    <a:pt x="219" y="119"/>
                  </a:lnTo>
                  <a:lnTo>
                    <a:pt x="210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6" y="217"/>
                  </a:lnTo>
                  <a:lnTo>
                    <a:pt x="101" y="219"/>
                  </a:lnTo>
                  <a:lnTo>
                    <a:pt x="69" y="211"/>
                  </a:lnTo>
                  <a:lnTo>
                    <a:pt x="37" y="194"/>
                  </a:lnTo>
                  <a:lnTo>
                    <a:pt x="17" y="168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9" y="70"/>
                  </a:lnTo>
                  <a:lnTo>
                    <a:pt x="26" y="41"/>
                  </a:lnTo>
                  <a:lnTo>
                    <a:pt x="52" y="18"/>
                  </a:lnTo>
                  <a:lnTo>
                    <a:pt x="84" y="6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24" name="Freeform 233">
              <a:extLst>
                <a:ext uri="{FF2B5EF4-FFF2-40B4-BE49-F238E27FC236}">
                  <a16:creationId xmlns:a16="http://schemas.microsoft.com/office/drawing/2014/main" id="{1FE564B5-2402-463C-BF87-09BDAB95EE8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843340" y="5135699"/>
              <a:ext cx="175213" cy="172813"/>
            </a:xfrm>
            <a:custGeom>
              <a:avLst/>
              <a:gdLst>
                <a:gd name="T0" fmla="*/ 115 w 219"/>
                <a:gd name="T1" fmla="*/ 0 h 216"/>
                <a:gd name="T2" fmla="*/ 149 w 219"/>
                <a:gd name="T3" fmla="*/ 5 h 216"/>
                <a:gd name="T4" fmla="*/ 178 w 219"/>
                <a:gd name="T5" fmla="*/ 26 h 216"/>
                <a:gd name="T6" fmla="*/ 201 w 219"/>
                <a:gd name="T7" fmla="*/ 51 h 216"/>
                <a:gd name="T8" fmla="*/ 216 w 219"/>
                <a:gd name="T9" fmla="*/ 80 h 216"/>
                <a:gd name="T10" fmla="*/ 219 w 219"/>
                <a:gd name="T11" fmla="*/ 115 h 216"/>
                <a:gd name="T12" fmla="*/ 210 w 219"/>
                <a:gd name="T13" fmla="*/ 149 h 216"/>
                <a:gd name="T14" fmla="*/ 193 w 219"/>
                <a:gd name="T15" fmla="*/ 178 h 216"/>
                <a:gd name="T16" fmla="*/ 167 w 219"/>
                <a:gd name="T17" fmla="*/ 201 h 216"/>
                <a:gd name="T18" fmla="*/ 135 w 219"/>
                <a:gd name="T19" fmla="*/ 213 h 216"/>
                <a:gd name="T20" fmla="*/ 100 w 219"/>
                <a:gd name="T21" fmla="*/ 216 h 216"/>
                <a:gd name="T22" fmla="*/ 69 w 219"/>
                <a:gd name="T23" fmla="*/ 210 h 216"/>
                <a:gd name="T24" fmla="*/ 37 w 219"/>
                <a:gd name="T25" fmla="*/ 190 h 216"/>
                <a:gd name="T26" fmla="*/ 14 w 219"/>
                <a:gd name="T27" fmla="*/ 167 h 216"/>
                <a:gd name="T28" fmla="*/ 2 w 219"/>
                <a:gd name="T29" fmla="*/ 135 h 216"/>
                <a:gd name="T30" fmla="*/ 0 w 219"/>
                <a:gd name="T31" fmla="*/ 100 h 216"/>
                <a:gd name="T32" fmla="*/ 8 w 219"/>
                <a:gd name="T33" fmla="*/ 66 h 216"/>
                <a:gd name="T34" fmla="*/ 26 w 219"/>
                <a:gd name="T35" fmla="*/ 37 h 216"/>
                <a:gd name="T36" fmla="*/ 51 w 219"/>
                <a:gd name="T37" fmla="*/ 14 h 216"/>
                <a:gd name="T38" fmla="*/ 80 w 219"/>
                <a:gd name="T39" fmla="*/ 3 h 216"/>
                <a:gd name="T40" fmla="*/ 115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5" y="0"/>
                  </a:moveTo>
                  <a:lnTo>
                    <a:pt x="149" y="5"/>
                  </a:lnTo>
                  <a:lnTo>
                    <a:pt x="178" y="26"/>
                  </a:lnTo>
                  <a:lnTo>
                    <a:pt x="201" y="51"/>
                  </a:lnTo>
                  <a:lnTo>
                    <a:pt x="216" y="80"/>
                  </a:lnTo>
                  <a:lnTo>
                    <a:pt x="219" y="115"/>
                  </a:lnTo>
                  <a:lnTo>
                    <a:pt x="210" y="149"/>
                  </a:lnTo>
                  <a:lnTo>
                    <a:pt x="193" y="178"/>
                  </a:lnTo>
                  <a:lnTo>
                    <a:pt x="167" y="201"/>
                  </a:lnTo>
                  <a:lnTo>
                    <a:pt x="135" y="213"/>
                  </a:lnTo>
                  <a:lnTo>
                    <a:pt x="100" y="216"/>
                  </a:lnTo>
                  <a:lnTo>
                    <a:pt x="69" y="210"/>
                  </a:lnTo>
                  <a:lnTo>
                    <a:pt x="37" y="190"/>
                  </a:lnTo>
                  <a:lnTo>
                    <a:pt x="14" y="167"/>
                  </a:lnTo>
                  <a:lnTo>
                    <a:pt x="2" y="135"/>
                  </a:lnTo>
                  <a:lnTo>
                    <a:pt x="0" y="100"/>
                  </a:lnTo>
                  <a:lnTo>
                    <a:pt x="8" y="66"/>
                  </a:lnTo>
                  <a:lnTo>
                    <a:pt x="26" y="37"/>
                  </a:lnTo>
                  <a:lnTo>
                    <a:pt x="51" y="14"/>
                  </a:lnTo>
                  <a:lnTo>
                    <a:pt x="80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25" name="Freeform 234">
              <a:extLst>
                <a:ext uri="{FF2B5EF4-FFF2-40B4-BE49-F238E27FC236}">
                  <a16:creationId xmlns:a16="http://schemas.microsoft.com/office/drawing/2014/main" id="{BDAA212B-0EAE-4774-B50F-72CB6DC1DA4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691328" y="4970086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3 w 219"/>
                <a:gd name="T3" fmla="*/ 6 h 219"/>
                <a:gd name="T4" fmla="*/ 181 w 219"/>
                <a:gd name="T5" fmla="*/ 26 h 219"/>
                <a:gd name="T6" fmla="*/ 205 w 219"/>
                <a:gd name="T7" fmla="*/ 49 h 219"/>
                <a:gd name="T8" fmla="*/ 216 w 219"/>
                <a:gd name="T9" fmla="*/ 81 h 219"/>
                <a:gd name="T10" fmla="*/ 219 w 219"/>
                <a:gd name="T11" fmla="*/ 116 h 219"/>
                <a:gd name="T12" fmla="*/ 213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5 w 219"/>
                <a:gd name="T19" fmla="*/ 214 h 219"/>
                <a:gd name="T20" fmla="*/ 104 w 219"/>
                <a:gd name="T21" fmla="*/ 219 h 219"/>
                <a:gd name="T22" fmla="*/ 69 w 219"/>
                <a:gd name="T23" fmla="*/ 211 h 219"/>
                <a:gd name="T24" fmla="*/ 40 w 219"/>
                <a:gd name="T25" fmla="*/ 193 h 219"/>
                <a:gd name="T26" fmla="*/ 17 w 219"/>
                <a:gd name="T27" fmla="*/ 167 h 219"/>
                <a:gd name="T28" fmla="*/ 3 w 219"/>
                <a:gd name="T29" fmla="*/ 136 h 219"/>
                <a:gd name="T30" fmla="*/ 0 w 219"/>
                <a:gd name="T31" fmla="*/ 101 h 219"/>
                <a:gd name="T32" fmla="*/ 8 w 219"/>
                <a:gd name="T33" fmla="*/ 67 h 219"/>
                <a:gd name="T34" fmla="*/ 26 w 219"/>
                <a:gd name="T35" fmla="*/ 38 h 219"/>
                <a:gd name="T36" fmla="*/ 52 w 219"/>
                <a:gd name="T37" fmla="*/ 15 h 219"/>
                <a:gd name="T38" fmla="*/ 83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3" y="6"/>
                  </a:lnTo>
                  <a:lnTo>
                    <a:pt x="181" y="26"/>
                  </a:lnTo>
                  <a:lnTo>
                    <a:pt x="205" y="49"/>
                  </a:lnTo>
                  <a:lnTo>
                    <a:pt x="216" y="81"/>
                  </a:lnTo>
                  <a:lnTo>
                    <a:pt x="219" y="116"/>
                  </a:lnTo>
                  <a:lnTo>
                    <a:pt x="213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4"/>
                  </a:lnTo>
                  <a:lnTo>
                    <a:pt x="104" y="219"/>
                  </a:lnTo>
                  <a:lnTo>
                    <a:pt x="69" y="211"/>
                  </a:lnTo>
                  <a:lnTo>
                    <a:pt x="40" y="193"/>
                  </a:lnTo>
                  <a:lnTo>
                    <a:pt x="17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8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26" name="Freeform 235">
              <a:extLst>
                <a:ext uri="{FF2B5EF4-FFF2-40B4-BE49-F238E27FC236}">
                  <a16:creationId xmlns:a16="http://schemas.microsoft.com/office/drawing/2014/main" id="{A40BDE72-786E-4036-B491-339ED24180A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550518" y="4797274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81 w 219"/>
                <a:gd name="T5" fmla="*/ 26 h 219"/>
                <a:gd name="T6" fmla="*/ 201 w 219"/>
                <a:gd name="T7" fmla="*/ 52 h 219"/>
                <a:gd name="T8" fmla="*/ 216 w 219"/>
                <a:gd name="T9" fmla="*/ 84 h 219"/>
                <a:gd name="T10" fmla="*/ 219 w 219"/>
                <a:gd name="T11" fmla="*/ 119 h 219"/>
                <a:gd name="T12" fmla="*/ 210 w 219"/>
                <a:gd name="T13" fmla="*/ 153 h 219"/>
                <a:gd name="T14" fmla="*/ 193 w 219"/>
                <a:gd name="T15" fmla="*/ 182 h 219"/>
                <a:gd name="T16" fmla="*/ 167 w 219"/>
                <a:gd name="T17" fmla="*/ 205 h 219"/>
                <a:gd name="T18" fmla="*/ 135 w 219"/>
                <a:gd name="T19" fmla="*/ 217 h 219"/>
                <a:gd name="T20" fmla="*/ 103 w 219"/>
                <a:gd name="T21" fmla="*/ 219 h 219"/>
                <a:gd name="T22" fmla="*/ 69 w 219"/>
                <a:gd name="T23" fmla="*/ 214 h 219"/>
                <a:gd name="T24" fmla="*/ 37 w 219"/>
                <a:gd name="T25" fmla="*/ 194 h 219"/>
                <a:gd name="T26" fmla="*/ 17 w 219"/>
                <a:gd name="T27" fmla="*/ 168 h 219"/>
                <a:gd name="T28" fmla="*/ 3 w 219"/>
                <a:gd name="T29" fmla="*/ 139 h 219"/>
                <a:gd name="T30" fmla="*/ 0 w 219"/>
                <a:gd name="T31" fmla="*/ 104 h 219"/>
                <a:gd name="T32" fmla="*/ 8 w 219"/>
                <a:gd name="T33" fmla="*/ 70 h 219"/>
                <a:gd name="T34" fmla="*/ 26 w 219"/>
                <a:gd name="T35" fmla="*/ 41 h 219"/>
                <a:gd name="T36" fmla="*/ 52 w 219"/>
                <a:gd name="T37" fmla="*/ 18 h 219"/>
                <a:gd name="T38" fmla="*/ 83 w 219"/>
                <a:gd name="T39" fmla="*/ 6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81" y="26"/>
                  </a:lnTo>
                  <a:lnTo>
                    <a:pt x="201" y="52"/>
                  </a:lnTo>
                  <a:lnTo>
                    <a:pt x="216" y="84"/>
                  </a:lnTo>
                  <a:lnTo>
                    <a:pt x="219" y="119"/>
                  </a:lnTo>
                  <a:lnTo>
                    <a:pt x="210" y="153"/>
                  </a:lnTo>
                  <a:lnTo>
                    <a:pt x="193" y="182"/>
                  </a:lnTo>
                  <a:lnTo>
                    <a:pt x="167" y="205"/>
                  </a:lnTo>
                  <a:lnTo>
                    <a:pt x="135" y="217"/>
                  </a:lnTo>
                  <a:lnTo>
                    <a:pt x="103" y="219"/>
                  </a:lnTo>
                  <a:lnTo>
                    <a:pt x="69" y="214"/>
                  </a:lnTo>
                  <a:lnTo>
                    <a:pt x="37" y="194"/>
                  </a:lnTo>
                  <a:lnTo>
                    <a:pt x="17" y="168"/>
                  </a:lnTo>
                  <a:lnTo>
                    <a:pt x="3" y="139"/>
                  </a:lnTo>
                  <a:lnTo>
                    <a:pt x="0" y="104"/>
                  </a:lnTo>
                  <a:lnTo>
                    <a:pt x="8" y="70"/>
                  </a:lnTo>
                  <a:lnTo>
                    <a:pt x="26" y="41"/>
                  </a:lnTo>
                  <a:lnTo>
                    <a:pt x="52" y="18"/>
                  </a:lnTo>
                  <a:lnTo>
                    <a:pt x="83" y="6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27" name="Freeform 236">
              <a:extLst>
                <a:ext uri="{FF2B5EF4-FFF2-40B4-BE49-F238E27FC236}">
                  <a16:creationId xmlns:a16="http://schemas.microsoft.com/office/drawing/2014/main" id="{DF03E676-A7E4-40B7-9B08-32068DC1069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426509" y="4610060"/>
              <a:ext cx="172813" cy="175213"/>
            </a:xfrm>
            <a:custGeom>
              <a:avLst/>
              <a:gdLst>
                <a:gd name="T0" fmla="*/ 116 w 216"/>
                <a:gd name="T1" fmla="*/ 0 h 219"/>
                <a:gd name="T2" fmla="*/ 150 w 216"/>
                <a:gd name="T3" fmla="*/ 9 h 219"/>
                <a:gd name="T4" fmla="*/ 179 w 216"/>
                <a:gd name="T5" fmla="*/ 26 h 219"/>
                <a:gd name="T6" fmla="*/ 202 w 216"/>
                <a:gd name="T7" fmla="*/ 52 h 219"/>
                <a:gd name="T8" fmla="*/ 214 w 216"/>
                <a:gd name="T9" fmla="*/ 81 h 219"/>
                <a:gd name="T10" fmla="*/ 216 w 216"/>
                <a:gd name="T11" fmla="*/ 115 h 219"/>
                <a:gd name="T12" fmla="*/ 211 w 216"/>
                <a:gd name="T13" fmla="*/ 150 h 219"/>
                <a:gd name="T14" fmla="*/ 191 w 216"/>
                <a:gd name="T15" fmla="*/ 179 h 219"/>
                <a:gd name="T16" fmla="*/ 167 w 216"/>
                <a:gd name="T17" fmla="*/ 202 h 219"/>
                <a:gd name="T18" fmla="*/ 136 w 216"/>
                <a:gd name="T19" fmla="*/ 216 h 219"/>
                <a:gd name="T20" fmla="*/ 101 w 216"/>
                <a:gd name="T21" fmla="*/ 219 h 219"/>
                <a:gd name="T22" fmla="*/ 67 w 216"/>
                <a:gd name="T23" fmla="*/ 210 h 219"/>
                <a:gd name="T24" fmla="*/ 38 w 216"/>
                <a:gd name="T25" fmla="*/ 193 h 219"/>
                <a:gd name="T26" fmla="*/ 15 w 216"/>
                <a:gd name="T27" fmla="*/ 167 h 219"/>
                <a:gd name="T28" fmla="*/ 3 w 216"/>
                <a:gd name="T29" fmla="*/ 135 h 219"/>
                <a:gd name="T30" fmla="*/ 0 w 216"/>
                <a:gd name="T31" fmla="*/ 101 h 219"/>
                <a:gd name="T32" fmla="*/ 9 w 216"/>
                <a:gd name="T33" fmla="*/ 69 h 219"/>
                <a:gd name="T34" fmla="*/ 26 w 216"/>
                <a:gd name="T35" fmla="*/ 37 h 219"/>
                <a:gd name="T36" fmla="*/ 52 w 216"/>
                <a:gd name="T37" fmla="*/ 14 h 219"/>
                <a:gd name="T38" fmla="*/ 81 w 216"/>
                <a:gd name="T39" fmla="*/ 3 h 219"/>
                <a:gd name="T40" fmla="*/ 116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6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4" y="81"/>
                  </a:lnTo>
                  <a:lnTo>
                    <a:pt x="216" y="115"/>
                  </a:lnTo>
                  <a:lnTo>
                    <a:pt x="211" y="150"/>
                  </a:lnTo>
                  <a:lnTo>
                    <a:pt x="191" y="179"/>
                  </a:lnTo>
                  <a:lnTo>
                    <a:pt x="167" y="202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7" y="210"/>
                  </a:lnTo>
                  <a:lnTo>
                    <a:pt x="38" y="193"/>
                  </a:lnTo>
                  <a:lnTo>
                    <a:pt x="15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9" y="69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1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28" name="Freeform 237">
              <a:extLst>
                <a:ext uri="{FF2B5EF4-FFF2-40B4-BE49-F238E27FC236}">
                  <a16:creationId xmlns:a16="http://schemas.microsoft.com/office/drawing/2014/main" id="{3A926422-D29B-46E1-A251-7ED19F828EA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312901" y="4416446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78 w 219"/>
                <a:gd name="T5" fmla="*/ 26 h 219"/>
                <a:gd name="T6" fmla="*/ 201 w 219"/>
                <a:gd name="T7" fmla="*/ 52 h 219"/>
                <a:gd name="T8" fmla="*/ 216 w 219"/>
                <a:gd name="T9" fmla="*/ 84 h 219"/>
                <a:gd name="T10" fmla="*/ 219 w 219"/>
                <a:gd name="T11" fmla="*/ 115 h 219"/>
                <a:gd name="T12" fmla="*/ 210 w 219"/>
                <a:gd name="T13" fmla="*/ 150 h 219"/>
                <a:gd name="T14" fmla="*/ 193 w 219"/>
                <a:gd name="T15" fmla="*/ 182 h 219"/>
                <a:gd name="T16" fmla="*/ 167 w 219"/>
                <a:gd name="T17" fmla="*/ 202 h 219"/>
                <a:gd name="T18" fmla="*/ 135 w 219"/>
                <a:gd name="T19" fmla="*/ 216 h 219"/>
                <a:gd name="T20" fmla="*/ 101 w 219"/>
                <a:gd name="T21" fmla="*/ 219 h 219"/>
                <a:gd name="T22" fmla="*/ 69 w 219"/>
                <a:gd name="T23" fmla="*/ 210 h 219"/>
                <a:gd name="T24" fmla="*/ 37 w 219"/>
                <a:gd name="T25" fmla="*/ 193 h 219"/>
                <a:gd name="T26" fmla="*/ 17 w 219"/>
                <a:gd name="T27" fmla="*/ 167 h 219"/>
                <a:gd name="T28" fmla="*/ 3 w 219"/>
                <a:gd name="T29" fmla="*/ 135 h 219"/>
                <a:gd name="T30" fmla="*/ 0 w 219"/>
                <a:gd name="T31" fmla="*/ 104 h 219"/>
                <a:gd name="T32" fmla="*/ 8 w 219"/>
                <a:gd name="T33" fmla="*/ 69 h 219"/>
                <a:gd name="T34" fmla="*/ 26 w 219"/>
                <a:gd name="T35" fmla="*/ 37 h 219"/>
                <a:gd name="T36" fmla="*/ 52 w 219"/>
                <a:gd name="T37" fmla="*/ 17 h 219"/>
                <a:gd name="T38" fmla="*/ 80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78" y="26"/>
                  </a:lnTo>
                  <a:lnTo>
                    <a:pt x="201" y="52"/>
                  </a:lnTo>
                  <a:lnTo>
                    <a:pt x="216" y="84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9" y="210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3" y="135"/>
                  </a:lnTo>
                  <a:lnTo>
                    <a:pt x="0" y="104"/>
                  </a:lnTo>
                  <a:lnTo>
                    <a:pt x="8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0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29" name="Freeform 238">
              <a:extLst>
                <a:ext uri="{FF2B5EF4-FFF2-40B4-BE49-F238E27FC236}">
                  <a16:creationId xmlns:a16="http://schemas.microsoft.com/office/drawing/2014/main" id="{67879147-9DBA-439F-8463-6CB14B8E540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218494" y="4213231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8 h 219"/>
                <a:gd name="T4" fmla="*/ 181 w 219"/>
                <a:gd name="T5" fmla="*/ 26 h 219"/>
                <a:gd name="T6" fmla="*/ 202 w 219"/>
                <a:gd name="T7" fmla="*/ 51 h 219"/>
                <a:gd name="T8" fmla="*/ 216 w 219"/>
                <a:gd name="T9" fmla="*/ 83 h 219"/>
                <a:gd name="T10" fmla="*/ 219 w 219"/>
                <a:gd name="T11" fmla="*/ 115 h 219"/>
                <a:gd name="T12" fmla="*/ 210 w 219"/>
                <a:gd name="T13" fmla="*/ 149 h 219"/>
                <a:gd name="T14" fmla="*/ 193 w 219"/>
                <a:gd name="T15" fmla="*/ 181 h 219"/>
                <a:gd name="T16" fmla="*/ 167 w 219"/>
                <a:gd name="T17" fmla="*/ 201 h 219"/>
                <a:gd name="T18" fmla="*/ 135 w 219"/>
                <a:gd name="T19" fmla="*/ 216 h 219"/>
                <a:gd name="T20" fmla="*/ 104 w 219"/>
                <a:gd name="T21" fmla="*/ 219 h 219"/>
                <a:gd name="T22" fmla="*/ 69 w 219"/>
                <a:gd name="T23" fmla="*/ 210 h 219"/>
                <a:gd name="T24" fmla="*/ 37 w 219"/>
                <a:gd name="T25" fmla="*/ 193 h 219"/>
                <a:gd name="T26" fmla="*/ 17 w 219"/>
                <a:gd name="T27" fmla="*/ 167 h 219"/>
                <a:gd name="T28" fmla="*/ 3 w 219"/>
                <a:gd name="T29" fmla="*/ 135 h 219"/>
                <a:gd name="T30" fmla="*/ 0 w 219"/>
                <a:gd name="T31" fmla="*/ 103 h 219"/>
                <a:gd name="T32" fmla="*/ 8 w 219"/>
                <a:gd name="T33" fmla="*/ 69 h 219"/>
                <a:gd name="T34" fmla="*/ 26 w 219"/>
                <a:gd name="T35" fmla="*/ 37 h 219"/>
                <a:gd name="T36" fmla="*/ 52 w 219"/>
                <a:gd name="T37" fmla="*/ 17 h 219"/>
                <a:gd name="T38" fmla="*/ 83 w 219"/>
                <a:gd name="T39" fmla="*/ 2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8"/>
                  </a:lnTo>
                  <a:lnTo>
                    <a:pt x="181" y="26"/>
                  </a:lnTo>
                  <a:lnTo>
                    <a:pt x="202" y="51"/>
                  </a:lnTo>
                  <a:lnTo>
                    <a:pt x="216" y="83"/>
                  </a:lnTo>
                  <a:lnTo>
                    <a:pt x="219" y="115"/>
                  </a:lnTo>
                  <a:lnTo>
                    <a:pt x="210" y="149"/>
                  </a:lnTo>
                  <a:lnTo>
                    <a:pt x="193" y="181"/>
                  </a:lnTo>
                  <a:lnTo>
                    <a:pt x="167" y="201"/>
                  </a:lnTo>
                  <a:lnTo>
                    <a:pt x="135" y="216"/>
                  </a:lnTo>
                  <a:lnTo>
                    <a:pt x="104" y="219"/>
                  </a:lnTo>
                  <a:lnTo>
                    <a:pt x="69" y="210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3" y="135"/>
                  </a:lnTo>
                  <a:lnTo>
                    <a:pt x="0" y="103"/>
                  </a:lnTo>
                  <a:lnTo>
                    <a:pt x="8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3" y="2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0" name="Freeform 239">
              <a:extLst>
                <a:ext uri="{FF2B5EF4-FFF2-40B4-BE49-F238E27FC236}">
                  <a16:creationId xmlns:a16="http://schemas.microsoft.com/office/drawing/2014/main" id="{84D446D2-C866-4D4E-AA1A-F718D7482DE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140089" y="4003616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47 w 216"/>
                <a:gd name="T3" fmla="*/ 9 h 219"/>
                <a:gd name="T4" fmla="*/ 178 w 216"/>
                <a:gd name="T5" fmla="*/ 26 h 219"/>
                <a:gd name="T6" fmla="*/ 202 w 216"/>
                <a:gd name="T7" fmla="*/ 52 h 219"/>
                <a:gd name="T8" fmla="*/ 213 w 216"/>
                <a:gd name="T9" fmla="*/ 83 h 219"/>
                <a:gd name="T10" fmla="*/ 216 w 216"/>
                <a:gd name="T11" fmla="*/ 115 h 219"/>
                <a:gd name="T12" fmla="*/ 210 w 216"/>
                <a:gd name="T13" fmla="*/ 150 h 219"/>
                <a:gd name="T14" fmla="*/ 190 w 216"/>
                <a:gd name="T15" fmla="*/ 179 h 219"/>
                <a:gd name="T16" fmla="*/ 164 w 216"/>
                <a:gd name="T17" fmla="*/ 202 h 219"/>
                <a:gd name="T18" fmla="*/ 135 w 216"/>
                <a:gd name="T19" fmla="*/ 216 h 219"/>
                <a:gd name="T20" fmla="*/ 101 w 216"/>
                <a:gd name="T21" fmla="*/ 219 h 219"/>
                <a:gd name="T22" fmla="*/ 66 w 216"/>
                <a:gd name="T23" fmla="*/ 210 h 219"/>
                <a:gd name="T24" fmla="*/ 37 w 216"/>
                <a:gd name="T25" fmla="*/ 193 h 219"/>
                <a:gd name="T26" fmla="*/ 14 w 216"/>
                <a:gd name="T27" fmla="*/ 167 h 219"/>
                <a:gd name="T28" fmla="*/ 3 w 216"/>
                <a:gd name="T29" fmla="*/ 135 h 219"/>
                <a:gd name="T30" fmla="*/ 0 w 216"/>
                <a:gd name="T31" fmla="*/ 101 h 219"/>
                <a:gd name="T32" fmla="*/ 5 w 216"/>
                <a:gd name="T33" fmla="*/ 69 h 219"/>
                <a:gd name="T34" fmla="*/ 26 w 216"/>
                <a:gd name="T35" fmla="*/ 37 h 219"/>
                <a:gd name="T36" fmla="*/ 52 w 216"/>
                <a:gd name="T37" fmla="*/ 17 h 219"/>
                <a:gd name="T38" fmla="*/ 80 w 216"/>
                <a:gd name="T39" fmla="*/ 3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47" y="9"/>
                  </a:lnTo>
                  <a:lnTo>
                    <a:pt x="178" y="26"/>
                  </a:lnTo>
                  <a:lnTo>
                    <a:pt x="202" y="52"/>
                  </a:lnTo>
                  <a:lnTo>
                    <a:pt x="213" y="83"/>
                  </a:lnTo>
                  <a:lnTo>
                    <a:pt x="216" y="115"/>
                  </a:lnTo>
                  <a:lnTo>
                    <a:pt x="210" y="150"/>
                  </a:lnTo>
                  <a:lnTo>
                    <a:pt x="190" y="179"/>
                  </a:lnTo>
                  <a:lnTo>
                    <a:pt x="164" y="202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6" y="210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5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0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1" name="Freeform 240">
              <a:extLst>
                <a:ext uri="{FF2B5EF4-FFF2-40B4-BE49-F238E27FC236}">
                  <a16:creationId xmlns:a16="http://schemas.microsoft.com/office/drawing/2014/main" id="{05CBF8DF-161A-40CF-B55C-7CBD88BBA91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032080" y="3569984"/>
              <a:ext cx="175213" cy="175213"/>
            </a:xfrm>
            <a:custGeom>
              <a:avLst/>
              <a:gdLst>
                <a:gd name="T0" fmla="*/ 119 w 219"/>
                <a:gd name="T1" fmla="*/ 0 h 219"/>
                <a:gd name="T2" fmla="*/ 150 w 219"/>
                <a:gd name="T3" fmla="*/ 8 h 219"/>
                <a:gd name="T4" fmla="*/ 182 w 219"/>
                <a:gd name="T5" fmla="*/ 26 h 219"/>
                <a:gd name="T6" fmla="*/ 202 w 219"/>
                <a:gd name="T7" fmla="*/ 52 h 219"/>
                <a:gd name="T8" fmla="*/ 217 w 219"/>
                <a:gd name="T9" fmla="*/ 83 h 219"/>
                <a:gd name="T10" fmla="*/ 219 w 219"/>
                <a:gd name="T11" fmla="*/ 118 h 219"/>
                <a:gd name="T12" fmla="*/ 211 w 219"/>
                <a:gd name="T13" fmla="*/ 152 h 219"/>
                <a:gd name="T14" fmla="*/ 193 w 219"/>
                <a:gd name="T15" fmla="*/ 181 h 219"/>
                <a:gd name="T16" fmla="*/ 168 w 219"/>
                <a:gd name="T17" fmla="*/ 204 h 219"/>
                <a:gd name="T18" fmla="*/ 136 w 219"/>
                <a:gd name="T19" fmla="*/ 216 h 219"/>
                <a:gd name="T20" fmla="*/ 104 w 219"/>
                <a:gd name="T21" fmla="*/ 219 h 219"/>
                <a:gd name="T22" fmla="*/ 70 w 219"/>
                <a:gd name="T23" fmla="*/ 213 h 219"/>
                <a:gd name="T24" fmla="*/ 41 w 219"/>
                <a:gd name="T25" fmla="*/ 193 h 219"/>
                <a:gd name="T26" fmla="*/ 18 w 219"/>
                <a:gd name="T27" fmla="*/ 167 h 219"/>
                <a:gd name="T28" fmla="*/ 3 w 219"/>
                <a:gd name="T29" fmla="*/ 138 h 219"/>
                <a:gd name="T30" fmla="*/ 0 w 219"/>
                <a:gd name="T31" fmla="*/ 103 h 219"/>
                <a:gd name="T32" fmla="*/ 9 w 219"/>
                <a:gd name="T33" fmla="*/ 69 h 219"/>
                <a:gd name="T34" fmla="*/ 26 w 219"/>
                <a:gd name="T35" fmla="*/ 40 h 219"/>
                <a:gd name="T36" fmla="*/ 52 w 219"/>
                <a:gd name="T37" fmla="*/ 17 h 219"/>
                <a:gd name="T38" fmla="*/ 84 w 219"/>
                <a:gd name="T39" fmla="*/ 5 h 219"/>
                <a:gd name="T40" fmla="*/ 119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9" y="0"/>
                  </a:moveTo>
                  <a:lnTo>
                    <a:pt x="150" y="8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7" y="83"/>
                  </a:lnTo>
                  <a:lnTo>
                    <a:pt x="219" y="118"/>
                  </a:lnTo>
                  <a:lnTo>
                    <a:pt x="211" y="152"/>
                  </a:lnTo>
                  <a:lnTo>
                    <a:pt x="193" y="181"/>
                  </a:lnTo>
                  <a:lnTo>
                    <a:pt x="168" y="204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70" y="213"/>
                  </a:lnTo>
                  <a:lnTo>
                    <a:pt x="41" y="193"/>
                  </a:lnTo>
                  <a:lnTo>
                    <a:pt x="18" y="167"/>
                  </a:lnTo>
                  <a:lnTo>
                    <a:pt x="3" y="138"/>
                  </a:lnTo>
                  <a:lnTo>
                    <a:pt x="0" y="103"/>
                  </a:lnTo>
                  <a:lnTo>
                    <a:pt x="9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4" y="5"/>
                  </a:lnTo>
                  <a:lnTo>
                    <a:pt x="1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2" name="Freeform 241">
              <a:extLst>
                <a:ext uri="{FF2B5EF4-FFF2-40B4-BE49-F238E27FC236}">
                  <a16:creationId xmlns:a16="http://schemas.microsoft.com/office/drawing/2014/main" id="{63015B52-C377-45E0-8CF1-78F78169D5F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004078" y="3346768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0 w 219"/>
                <a:gd name="T3" fmla="*/ 9 h 219"/>
                <a:gd name="T4" fmla="*/ 182 w 219"/>
                <a:gd name="T5" fmla="*/ 26 h 219"/>
                <a:gd name="T6" fmla="*/ 205 w 219"/>
                <a:gd name="T7" fmla="*/ 52 h 219"/>
                <a:gd name="T8" fmla="*/ 216 w 219"/>
                <a:gd name="T9" fmla="*/ 84 h 219"/>
                <a:gd name="T10" fmla="*/ 219 w 219"/>
                <a:gd name="T11" fmla="*/ 116 h 219"/>
                <a:gd name="T12" fmla="*/ 210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8 w 219"/>
                <a:gd name="T19" fmla="*/ 216 h 219"/>
                <a:gd name="T20" fmla="*/ 104 w 219"/>
                <a:gd name="T21" fmla="*/ 219 h 219"/>
                <a:gd name="T22" fmla="*/ 69 w 219"/>
                <a:gd name="T23" fmla="*/ 211 h 219"/>
                <a:gd name="T24" fmla="*/ 40 w 219"/>
                <a:gd name="T25" fmla="*/ 193 h 219"/>
                <a:gd name="T26" fmla="*/ 17 w 219"/>
                <a:gd name="T27" fmla="*/ 167 h 219"/>
                <a:gd name="T28" fmla="*/ 6 w 219"/>
                <a:gd name="T29" fmla="*/ 136 h 219"/>
                <a:gd name="T30" fmla="*/ 0 w 219"/>
                <a:gd name="T31" fmla="*/ 101 h 219"/>
                <a:gd name="T32" fmla="*/ 9 w 219"/>
                <a:gd name="T33" fmla="*/ 67 h 219"/>
                <a:gd name="T34" fmla="*/ 29 w 219"/>
                <a:gd name="T35" fmla="*/ 38 h 219"/>
                <a:gd name="T36" fmla="*/ 52 w 219"/>
                <a:gd name="T37" fmla="*/ 18 h 219"/>
                <a:gd name="T38" fmla="*/ 84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0" y="9"/>
                  </a:lnTo>
                  <a:lnTo>
                    <a:pt x="182" y="26"/>
                  </a:lnTo>
                  <a:lnTo>
                    <a:pt x="205" y="52"/>
                  </a:lnTo>
                  <a:lnTo>
                    <a:pt x="216" y="84"/>
                  </a:lnTo>
                  <a:lnTo>
                    <a:pt x="219" y="116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8" y="216"/>
                  </a:lnTo>
                  <a:lnTo>
                    <a:pt x="104" y="219"/>
                  </a:lnTo>
                  <a:lnTo>
                    <a:pt x="69" y="211"/>
                  </a:lnTo>
                  <a:lnTo>
                    <a:pt x="40" y="193"/>
                  </a:lnTo>
                  <a:lnTo>
                    <a:pt x="17" y="167"/>
                  </a:lnTo>
                  <a:lnTo>
                    <a:pt x="6" y="136"/>
                  </a:lnTo>
                  <a:lnTo>
                    <a:pt x="0" y="101"/>
                  </a:lnTo>
                  <a:lnTo>
                    <a:pt x="9" y="67"/>
                  </a:lnTo>
                  <a:lnTo>
                    <a:pt x="29" y="38"/>
                  </a:lnTo>
                  <a:lnTo>
                    <a:pt x="52" y="18"/>
                  </a:lnTo>
                  <a:lnTo>
                    <a:pt x="84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3" name="Freeform 242">
              <a:extLst>
                <a:ext uri="{FF2B5EF4-FFF2-40B4-BE49-F238E27FC236}">
                  <a16:creationId xmlns:a16="http://schemas.microsoft.com/office/drawing/2014/main" id="{5908B9A1-B8CF-4D27-B3A7-263A765B42C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992877" y="3122752"/>
              <a:ext cx="175213" cy="175213"/>
            </a:xfrm>
            <a:custGeom>
              <a:avLst/>
              <a:gdLst>
                <a:gd name="T0" fmla="*/ 116 w 219"/>
                <a:gd name="T1" fmla="*/ 0 h 219"/>
                <a:gd name="T2" fmla="*/ 150 w 219"/>
                <a:gd name="T3" fmla="*/ 8 h 219"/>
                <a:gd name="T4" fmla="*/ 182 w 219"/>
                <a:gd name="T5" fmla="*/ 26 h 219"/>
                <a:gd name="T6" fmla="*/ 202 w 219"/>
                <a:gd name="T7" fmla="*/ 52 h 219"/>
                <a:gd name="T8" fmla="*/ 217 w 219"/>
                <a:gd name="T9" fmla="*/ 81 h 219"/>
                <a:gd name="T10" fmla="*/ 219 w 219"/>
                <a:gd name="T11" fmla="*/ 115 h 219"/>
                <a:gd name="T12" fmla="*/ 211 w 219"/>
                <a:gd name="T13" fmla="*/ 150 h 219"/>
                <a:gd name="T14" fmla="*/ 193 w 219"/>
                <a:gd name="T15" fmla="*/ 181 h 219"/>
                <a:gd name="T16" fmla="*/ 168 w 219"/>
                <a:gd name="T17" fmla="*/ 202 h 219"/>
                <a:gd name="T18" fmla="*/ 136 w 219"/>
                <a:gd name="T19" fmla="*/ 216 h 219"/>
                <a:gd name="T20" fmla="*/ 104 w 219"/>
                <a:gd name="T21" fmla="*/ 219 h 219"/>
                <a:gd name="T22" fmla="*/ 70 w 219"/>
                <a:gd name="T23" fmla="*/ 210 h 219"/>
                <a:gd name="T24" fmla="*/ 38 w 219"/>
                <a:gd name="T25" fmla="*/ 193 h 219"/>
                <a:gd name="T26" fmla="*/ 18 w 219"/>
                <a:gd name="T27" fmla="*/ 167 h 219"/>
                <a:gd name="T28" fmla="*/ 3 w 219"/>
                <a:gd name="T29" fmla="*/ 135 h 219"/>
                <a:gd name="T30" fmla="*/ 0 w 219"/>
                <a:gd name="T31" fmla="*/ 101 h 219"/>
                <a:gd name="T32" fmla="*/ 9 w 219"/>
                <a:gd name="T33" fmla="*/ 66 h 219"/>
                <a:gd name="T34" fmla="*/ 26 w 219"/>
                <a:gd name="T35" fmla="*/ 37 h 219"/>
                <a:gd name="T36" fmla="*/ 52 w 219"/>
                <a:gd name="T37" fmla="*/ 14 h 219"/>
                <a:gd name="T38" fmla="*/ 84 w 219"/>
                <a:gd name="T39" fmla="*/ 3 h 219"/>
                <a:gd name="T40" fmla="*/ 116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6" y="0"/>
                  </a:moveTo>
                  <a:lnTo>
                    <a:pt x="150" y="8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7" y="81"/>
                  </a:lnTo>
                  <a:lnTo>
                    <a:pt x="219" y="115"/>
                  </a:lnTo>
                  <a:lnTo>
                    <a:pt x="211" y="150"/>
                  </a:lnTo>
                  <a:lnTo>
                    <a:pt x="193" y="181"/>
                  </a:lnTo>
                  <a:lnTo>
                    <a:pt x="168" y="202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70" y="210"/>
                  </a:lnTo>
                  <a:lnTo>
                    <a:pt x="38" y="193"/>
                  </a:lnTo>
                  <a:lnTo>
                    <a:pt x="18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9" y="66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4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4" name="Freeform 243">
              <a:extLst>
                <a:ext uri="{FF2B5EF4-FFF2-40B4-BE49-F238E27FC236}">
                  <a16:creationId xmlns:a16="http://schemas.microsoft.com/office/drawing/2014/main" id="{A5BE6E4E-D180-45A1-A1AB-67A283C0A54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999278" y="2899536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78 w 219"/>
                <a:gd name="T5" fmla="*/ 26 h 219"/>
                <a:gd name="T6" fmla="*/ 201 w 219"/>
                <a:gd name="T7" fmla="*/ 52 h 219"/>
                <a:gd name="T8" fmla="*/ 216 w 219"/>
                <a:gd name="T9" fmla="*/ 84 h 219"/>
                <a:gd name="T10" fmla="*/ 219 w 219"/>
                <a:gd name="T11" fmla="*/ 116 h 219"/>
                <a:gd name="T12" fmla="*/ 210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5 w 219"/>
                <a:gd name="T19" fmla="*/ 217 h 219"/>
                <a:gd name="T20" fmla="*/ 101 w 219"/>
                <a:gd name="T21" fmla="*/ 219 h 219"/>
                <a:gd name="T22" fmla="*/ 69 w 219"/>
                <a:gd name="T23" fmla="*/ 211 h 219"/>
                <a:gd name="T24" fmla="*/ 37 w 219"/>
                <a:gd name="T25" fmla="*/ 193 h 219"/>
                <a:gd name="T26" fmla="*/ 17 w 219"/>
                <a:gd name="T27" fmla="*/ 168 h 219"/>
                <a:gd name="T28" fmla="*/ 3 w 219"/>
                <a:gd name="T29" fmla="*/ 136 h 219"/>
                <a:gd name="T30" fmla="*/ 0 w 219"/>
                <a:gd name="T31" fmla="*/ 104 h 219"/>
                <a:gd name="T32" fmla="*/ 8 w 219"/>
                <a:gd name="T33" fmla="*/ 70 h 219"/>
                <a:gd name="T34" fmla="*/ 26 w 219"/>
                <a:gd name="T35" fmla="*/ 38 h 219"/>
                <a:gd name="T36" fmla="*/ 52 w 219"/>
                <a:gd name="T37" fmla="*/ 18 h 219"/>
                <a:gd name="T38" fmla="*/ 83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78" y="26"/>
                  </a:lnTo>
                  <a:lnTo>
                    <a:pt x="201" y="52"/>
                  </a:lnTo>
                  <a:lnTo>
                    <a:pt x="216" y="84"/>
                  </a:lnTo>
                  <a:lnTo>
                    <a:pt x="219" y="116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7"/>
                  </a:lnTo>
                  <a:lnTo>
                    <a:pt x="101" y="219"/>
                  </a:lnTo>
                  <a:lnTo>
                    <a:pt x="69" y="211"/>
                  </a:lnTo>
                  <a:lnTo>
                    <a:pt x="37" y="193"/>
                  </a:lnTo>
                  <a:lnTo>
                    <a:pt x="17" y="168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8" y="70"/>
                  </a:lnTo>
                  <a:lnTo>
                    <a:pt x="26" y="38"/>
                  </a:lnTo>
                  <a:lnTo>
                    <a:pt x="52" y="18"/>
                  </a:lnTo>
                  <a:lnTo>
                    <a:pt x="83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5" name="Freeform 244">
              <a:extLst>
                <a:ext uri="{FF2B5EF4-FFF2-40B4-BE49-F238E27FC236}">
                  <a16:creationId xmlns:a16="http://schemas.microsoft.com/office/drawing/2014/main" id="{29E6D03A-1295-4ACA-B090-5440E61D9DF0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024880" y="2677920"/>
              <a:ext cx="175213" cy="172813"/>
            </a:xfrm>
            <a:custGeom>
              <a:avLst/>
              <a:gdLst>
                <a:gd name="T0" fmla="*/ 118 w 219"/>
                <a:gd name="T1" fmla="*/ 0 h 216"/>
                <a:gd name="T2" fmla="*/ 153 w 219"/>
                <a:gd name="T3" fmla="*/ 6 h 216"/>
                <a:gd name="T4" fmla="*/ 182 w 219"/>
                <a:gd name="T5" fmla="*/ 26 h 216"/>
                <a:gd name="T6" fmla="*/ 202 w 219"/>
                <a:gd name="T7" fmla="*/ 52 h 216"/>
                <a:gd name="T8" fmla="*/ 216 w 219"/>
                <a:gd name="T9" fmla="*/ 81 h 216"/>
                <a:gd name="T10" fmla="*/ 219 w 219"/>
                <a:gd name="T11" fmla="*/ 115 h 216"/>
                <a:gd name="T12" fmla="*/ 210 w 219"/>
                <a:gd name="T13" fmla="*/ 150 h 216"/>
                <a:gd name="T14" fmla="*/ 193 w 219"/>
                <a:gd name="T15" fmla="*/ 179 h 216"/>
                <a:gd name="T16" fmla="*/ 167 w 219"/>
                <a:gd name="T17" fmla="*/ 202 h 216"/>
                <a:gd name="T18" fmla="*/ 135 w 219"/>
                <a:gd name="T19" fmla="*/ 213 h 216"/>
                <a:gd name="T20" fmla="*/ 104 w 219"/>
                <a:gd name="T21" fmla="*/ 216 h 216"/>
                <a:gd name="T22" fmla="*/ 69 w 219"/>
                <a:gd name="T23" fmla="*/ 210 h 216"/>
                <a:gd name="T24" fmla="*/ 40 w 219"/>
                <a:gd name="T25" fmla="*/ 190 h 216"/>
                <a:gd name="T26" fmla="*/ 17 w 219"/>
                <a:gd name="T27" fmla="*/ 167 h 216"/>
                <a:gd name="T28" fmla="*/ 3 w 219"/>
                <a:gd name="T29" fmla="*/ 135 h 216"/>
                <a:gd name="T30" fmla="*/ 0 w 219"/>
                <a:gd name="T31" fmla="*/ 101 h 216"/>
                <a:gd name="T32" fmla="*/ 9 w 219"/>
                <a:gd name="T33" fmla="*/ 66 h 216"/>
                <a:gd name="T34" fmla="*/ 26 w 219"/>
                <a:gd name="T35" fmla="*/ 37 h 216"/>
                <a:gd name="T36" fmla="*/ 52 w 219"/>
                <a:gd name="T37" fmla="*/ 14 h 216"/>
                <a:gd name="T38" fmla="*/ 84 w 219"/>
                <a:gd name="T39" fmla="*/ 3 h 216"/>
                <a:gd name="T40" fmla="*/ 118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8" y="0"/>
                  </a:moveTo>
                  <a:lnTo>
                    <a:pt x="153" y="6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1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3"/>
                  </a:lnTo>
                  <a:lnTo>
                    <a:pt x="104" y="216"/>
                  </a:lnTo>
                  <a:lnTo>
                    <a:pt x="69" y="210"/>
                  </a:lnTo>
                  <a:lnTo>
                    <a:pt x="40" y="190"/>
                  </a:lnTo>
                  <a:lnTo>
                    <a:pt x="17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9" y="66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4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6" name="Freeform 245">
              <a:extLst>
                <a:ext uri="{FF2B5EF4-FFF2-40B4-BE49-F238E27FC236}">
                  <a16:creationId xmlns:a16="http://schemas.microsoft.com/office/drawing/2014/main" id="{53BC828E-06F9-4F86-9108-724098D1314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126487" y="2239487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3 w 219"/>
                <a:gd name="T3" fmla="*/ 8 h 219"/>
                <a:gd name="T4" fmla="*/ 182 w 219"/>
                <a:gd name="T5" fmla="*/ 26 h 219"/>
                <a:gd name="T6" fmla="*/ 205 w 219"/>
                <a:gd name="T7" fmla="*/ 52 h 219"/>
                <a:gd name="T8" fmla="*/ 216 w 219"/>
                <a:gd name="T9" fmla="*/ 83 h 219"/>
                <a:gd name="T10" fmla="*/ 219 w 219"/>
                <a:gd name="T11" fmla="*/ 115 h 219"/>
                <a:gd name="T12" fmla="*/ 213 w 219"/>
                <a:gd name="T13" fmla="*/ 150 h 219"/>
                <a:gd name="T14" fmla="*/ 193 w 219"/>
                <a:gd name="T15" fmla="*/ 178 h 219"/>
                <a:gd name="T16" fmla="*/ 167 w 219"/>
                <a:gd name="T17" fmla="*/ 201 h 219"/>
                <a:gd name="T18" fmla="*/ 139 w 219"/>
                <a:gd name="T19" fmla="*/ 216 h 219"/>
                <a:gd name="T20" fmla="*/ 104 w 219"/>
                <a:gd name="T21" fmla="*/ 219 h 219"/>
                <a:gd name="T22" fmla="*/ 69 w 219"/>
                <a:gd name="T23" fmla="*/ 210 h 219"/>
                <a:gd name="T24" fmla="*/ 40 w 219"/>
                <a:gd name="T25" fmla="*/ 193 h 219"/>
                <a:gd name="T26" fmla="*/ 17 w 219"/>
                <a:gd name="T27" fmla="*/ 167 h 219"/>
                <a:gd name="T28" fmla="*/ 6 w 219"/>
                <a:gd name="T29" fmla="*/ 135 h 219"/>
                <a:gd name="T30" fmla="*/ 0 w 219"/>
                <a:gd name="T31" fmla="*/ 101 h 219"/>
                <a:gd name="T32" fmla="*/ 9 w 219"/>
                <a:gd name="T33" fmla="*/ 66 h 219"/>
                <a:gd name="T34" fmla="*/ 26 w 219"/>
                <a:gd name="T35" fmla="*/ 37 h 219"/>
                <a:gd name="T36" fmla="*/ 52 w 219"/>
                <a:gd name="T37" fmla="*/ 17 h 219"/>
                <a:gd name="T38" fmla="*/ 84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3" y="8"/>
                  </a:lnTo>
                  <a:lnTo>
                    <a:pt x="182" y="26"/>
                  </a:lnTo>
                  <a:lnTo>
                    <a:pt x="205" y="52"/>
                  </a:lnTo>
                  <a:lnTo>
                    <a:pt x="216" y="83"/>
                  </a:lnTo>
                  <a:lnTo>
                    <a:pt x="219" y="115"/>
                  </a:lnTo>
                  <a:lnTo>
                    <a:pt x="213" y="150"/>
                  </a:lnTo>
                  <a:lnTo>
                    <a:pt x="193" y="178"/>
                  </a:lnTo>
                  <a:lnTo>
                    <a:pt x="167" y="201"/>
                  </a:lnTo>
                  <a:lnTo>
                    <a:pt x="139" y="216"/>
                  </a:lnTo>
                  <a:lnTo>
                    <a:pt x="104" y="219"/>
                  </a:lnTo>
                  <a:lnTo>
                    <a:pt x="69" y="210"/>
                  </a:lnTo>
                  <a:lnTo>
                    <a:pt x="40" y="193"/>
                  </a:lnTo>
                  <a:lnTo>
                    <a:pt x="17" y="167"/>
                  </a:lnTo>
                  <a:lnTo>
                    <a:pt x="6" y="135"/>
                  </a:lnTo>
                  <a:lnTo>
                    <a:pt x="0" y="101"/>
                  </a:lnTo>
                  <a:lnTo>
                    <a:pt x="9" y="66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4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7" name="Freeform 246">
              <a:extLst>
                <a:ext uri="{FF2B5EF4-FFF2-40B4-BE49-F238E27FC236}">
                  <a16:creationId xmlns:a16="http://schemas.microsoft.com/office/drawing/2014/main" id="{D794BC6E-9500-4CC9-988E-56359EF415D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036080" y="1962667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49 w 219"/>
                <a:gd name="T3" fmla="*/ 8 h 219"/>
                <a:gd name="T4" fmla="*/ 181 w 219"/>
                <a:gd name="T5" fmla="*/ 25 h 219"/>
                <a:gd name="T6" fmla="*/ 201 w 219"/>
                <a:gd name="T7" fmla="*/ 51 h 219"/>
                <a:gd name="T8" fmla="*/ 216 w 219"/>
                <a:gd name="T9" fmla="*/ 83 h 219"/>
                <a:gd name="T10" fmla="*/ 219 w 219"/>
                <a:gd name="T11" fmla="*/ 118 h 219"/>
                <a:gd name="T12" fmla="*/ 210 w 219"/>
                <a:gd name="T13" fmla="*/ 152 h 219"/>
                <a:gd name="T14" fmla="*/ 193 w 219"/>
                <a:gd name="T15" fmla="*/ 181 h 219"/>
                <a:gd name="T16" fmla="*/ 167 w 219"/>
                <a:gd name="T17" fmla="*/ 201 h 219"/>
                <a:gd name="T18" fmla="*/ 135 w 219"/>
                <a:gd name="T19" fmla="*/ 216 h 219"/>
                <a:gd name="T20" fmla="*/ 103 w 219"/>
                <a:gd name="T21" fmla="*/ 219 h 219"/>
                <a:gd name="T22" fmla="*/ 69 w 219"/>
                <a:gd name="T23" fmla="*/ 210 h 219"/>
                <a:gd name="T24" fmla="*/ 37 w 219"/>
                <a:gd name="T25" fmla="*/ 193 h 219"/>
                <a:gd name="T26" fmla="*/ 17 w 219"/>
                <a:gd name="T27" fmla="*/ 167 h 219"/>
                <a:gd name="T28" fmla="*/ 2 w 219"/>
                <a:gd name="T29" fmla="*/ 138 h 219"/>
                <a:gd name="T30" fmla="*/ 0 w 219"/>
                <a:gd name="T31" fmla="*/ 103 h 219"/>
                <a:gd name="T32" fmla="*/ 8 w 219"/>
                <a:gd name="T33" fmla="*/ 69 h 219"/>
                <a:gd name="T34" fmla="*/ 26 w 219"/>
                <a:gd name="T35" fmla="*/ 40 h 219"/>
                <a:gd name="T36" fmla="*/ 51 w 219"/>
                <a:gd name="T37" fmla="*/ 17 h 219"/>
                <a:gd name="T38" fmla="*/ 83 w 219"/>
                <a:gd name="T39" fmla="*/ 2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49" y="8"/>
                  </a:lnTo>
                  <a:lnTo>
                    <a:pt x="181" y="25"/>
                  </a:lnTo>
                  <a:lnTo>
                    <a:pt x="201" y="51"/>
                  </a:lnTo>
                  <a:lnTo>
                    <a:pt x="216" y="83"/>
                  </a:lnTo>
                  <a:lnTo>
                    <a:pt x="219" y="118"/>
                  </a:lnTo>
                  <a:lnTo>
                    <a:pt x="210" y="152"/>
                  </a:lnTo>
                  <a:lnTo>
                    <a:pt x="193" y="181"/>
                  </a:lnTo>
                  <a:lnTo>
                    <a:pt x="167" y="201"/>
                  </a:lnTo>
                  <a:lnTo>
                    <a:pt x="135" y="216"/>
                  </a:lnTo>
                  <a:lnTo>
                    <a:pt x="103" y="219"/>
                  </a:lnTo>
                  <a:lnTo>
                    <a:pt x="69" y="210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2" y="138"/>
                  </a:lnTo>
                  <a:lnTo>
                    <a:pt x="0" y="103"/>
                  </a:lnTo>
                  <a:lnTo>
                    <a:pt x="8" y="69"/>
                  </a:lnTo>
                  <a:lnTo>
                    <a:pt x="26" y="40"/>
                  </a:lnTo>
                  <a:lnTo>
                    <a:pt x="51" y="17"/>
                  </a:lnTo>
                  <a:lnTo>
                    <a:pt x="83" y="2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8" name="Freeform 247">
              <a:extLst>
                <a:ext uri="{FF2B5EF4-FFF2-40B4-BE49-F238E27FC236}">
                  <a16:creationId xmlns:a16="http://schemas.microsoft.com/office/drawing/2014/main" id="{6BFA83FC-F98D-4452-9912-86492C986C0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128887" y="1757852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0 w 219"/>
                <a:gd name="T3" fmla="*/ 9 h 219"/>
                <a:gd name="T4" fmla="*/ 182 w 219"/>
                <a:gd name="T5" fmla="*/ 26 h 219"/>
                <a:gd name="T6" fmla="*/ 202 w 219"/>
                <a:gd name="T7" fmla="*/ 52 h 219"/>
                <a:gd name="T8" fmla="*/ 216 w 219"/>
                <a:gd name="T9" fmla="*/ 84 h 219"/>
                <a:gd name="T10" fmla="*/ 219 w 219"/>
                <a:gd name="T11" fmla="*/ 115 h 219"/>
                <a:gd name="T12" fmla="*/ 214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6 w 219"/>
                <a:gd name="T19" fmla="*/ 216 h 219"/>
                <a:gd name="T20" fmla="*/ 104 w 219"/>
                <a:gd name="T21" fmla="*/ 219 h 219"/>
                <a:gd name="T22" fmla="*/ 69 w 219"/>
                <a:gd name="T23" fmla="*/ 210 h 219"/>
                <a:gd name="T24" fmla="*/ 41 w 219"/>
                <a:gd name="T25" fmla="*/ 193 h 219"/>
                <a:gd name="T26" fmla="*/ 18 w 219"/>
                <a:gd name="T27" fmla="*/ 167 h 219"/>
                <a:gd name="T28" fmla="*/ 3 w 219"/>
                <a:gd name="T29" fmla="*/ 136 h 219"/>
                <a:gd name="T30" fmla="*/ 0 w 219"/>
                <a:gd name="T31" fmla="*/ 101 h 219"/>
                <a:gd name="T32" fmla="*/ 9 w 219"/>
                <a:gd name="T33" fmla="*/ 69 h 219"/>
                <a:gd name="T34" fmla="*/ 26 w 219"/>
                <a:gd name="T35" fmla="*/ 38 h 219"/>
                <a:gd name="T36" fmla="*/ 52 w 219"/>
                <a:gd name="T37" fmla="*/ 17 h 219"/>
                <a:gd name="T38" fmla="*/ 84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0" y="9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4"/>
                  </a:lnTo>
                  <a:lnTo>
                    <a:pt x="219" y="115"/>
                  </a:lnTo>
                  <a:lnTo>
                    <a:pt x="214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69" y="210"/>
                  </a:lnTo>
                  <a:lnTo>
                    <a:pt x="41" y="193"/>
                  </a:lnTo>
                  <a:lnTo>
                    <a:pt x="18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9" y="69"/>
                  </a:lnTo>
                  <a:lnTo>
                    <a:pt x="26" y="38"/>
                  </a:lnTo>
                  <a:lnTo>
                    <a:pt x="52" y="17"/>
                  </a:lnTo>
                  <a:lnTo>
                    <a:pt x="84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9" name="Freeform 248">
              <a:extLst>
                <a:ext uri="{FF2B5EF4-FFF2-40B4-BE49-F238E27FC236}">
                  <a16:creationId xmlns:a16="http://schemas.microsoft.com/office/drawing/2014/main" id="{3FC1EE45-B43D-4828-B807-317CEB7DBFE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234495" y="1561838"/>
              <a:ext cx="175213" cy="172813"/>
            </a:xfrm>
            <a:custGeom>
              <a:avLst/>
              <a:gdLst>
                <a:gd name="T0" fmla="*/ 118 w 219"/>
                <a:gd name="T1" fmla="*/ 0 h 216"/>
                <a:gd name="T2" fmla="*/ 150 w 219"/>
                <a:gd name="T3" fmla="*/ 6 h 216"/>
                <a:gd name="T4" fmla="*/ 181 w 219"/>
                <a:gd name="T5" fmla="*/ 26 h 216"/>
                <a:gd name="T6" fmla="*/ 201 w 219"/>
                <a:gd name="T7" fmla="*/ 49 h 216"/>
                <a:gd name="T8" fmla="*/ 216 w 219"/>
                <a:gd name="T9" fmla="*/ 81 h 216"/>
                <a:gd name="T10" fmla="*/ 219 w 219"/>
                <a:gd name="T11" fmla="*/ 115 h 216"/>
                <a:gd name="T12" fmla="*/ 210 w 219"/>
                <a:gd name="T13" fmla="*/ 150 h 216"/>
                <a:gd name="T14" fmla="*/ 193 w 219"/>
                <a:gd name="T15" fmla="*/ 179 h 216"/>
                <a:gd name="T16" fmla="*/ 167 w 219"/>
                <a:gd name="T17" fmla="*/ 202 h 216"/>
                <a:gd name="T18" fmla="*/ 135 w 219"/>
                <a:gd name="T19" fmla="*/ 213 h 216"/>
                <a:gd name="T20" fmla="*/ 103 w 219"/>
                <a:gd name="T21" fmla="*/ 216 h 216"/>
                <a:gd name="T22" fmla="*/ 69 w 219"/>
                <a:gd name="T23" fmla="*/ 207 h 216"/>
                <a:gd name="T24" fmla="*/ 37 w 219"/>
                <a:gd name="T25" fmla="*/ 190 h 216"/>
                <a:gd name="T26" fmla="*/ 17 w 219"/>
                <a:gd name="T27" fmla="*/ 164 h 216"/>
                <a:gd name="T28" fmla="*/ 3 w 219"/>
                <a:gd name="T29" fmla="*/ 135 h 216"/>
                <a:gd name="T30" fmla="*/ 0 w 219"/>
                <a:gd name="T31" fmla="*/ 101 h 216"/>
                <a:gd name="T32" fmla="*/ 8 w 219"/>
                <a:gd name="T33" fmla="*/ 66 h 216"/>
                <a:gd name="T34" fmla="*/ 26 w 219"/>
                <a:gd name="T35" fmla="*/ 37 h 216"/>
                <a:gd name="T36" fmla="*/ 52 w 219"/>
                <a:gd name="T37" fmla="*/ 14 h 216"/>
                <a:gd name="T38" fmla="*/ 83 w 219"/>
                <a:gd name="T39" fmla="*/ 3 h 216"/>
                <a:gd name="T40" fmla="*/ 118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8" y="0"/>
                  </a:moveTo>
                  <a:lnTo>
                    <a:pt x="150" y="6"/>
                  </a:lnTo>
                  <a:lnTo>
                    <a:pt x="181" y="26"/>
                  </a:lnTo>
                  <a:lnTo>
                    <a:pt x="201" y="49"/>
                  </a:lnTo>
                  <a:lnTo>
                    <a:pt x="216" y="81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3"/>
                  </a:lnTo>
                  <a:lnTo>
                    <a:pt x="103" y="216"/>
                  </a:lnTo>
                  <a:lnTo>
                    <a:pt x="69" y="207"/>
                  </a:lnTo>
                  <a:lnTo>
                    <a:pt x="37" y="190"/>
                  </a:lnTo>
                  <a:lnTo>
                    <a:pt x="17" y="164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8" y="66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0" name="Freeform 249">
              <a:extLst>
                <a:ext uri="{FF2B5EF4-FFF2-40B4-BE49-F238E27FC236}">
                  <a16:creationId xmlns:a16="http://schemas.microsoft.com/office/drawing/2014/main" id="{95410653-AC0F-4529-B7AB-D976204684E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354504" y="1373024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78 w 219"/>
                <a:gd name="T5" fmla="*/ 26 h 219"/>
                <a:gd name="T6" fmla="*/ 202 w 219"/>
                <a:gd name="T7" fmla="*/ 52 h 219"/>
                <a:gd name="T8" fmla="*/ 216 w 219"/>
                <a:gd name="T9" fmla="*/ 84 h 219"/>
                <a:gd name="T10" fmla="*/ 219 w 219"/>
                <a:gd name="T11" fmla="*/ 119 h 219"/>
                <a:gd name="T12" fmla="*/ 210 w 219"/>
                <a:gd name="T13" fmla="*/ 150 h 219"/>
                <a:gd name="T14" fmla="*/ 193 w 219"/>
                <a:gd name="T15" fmla="*/ 182 h 219"/>
                <a:gd name="T16" fmla="*/ 167 w 219"/>
                <a:gd name="T17" fmla="*/ 202 h 219"/>
                <a:gd name="T18" fmla="*/ 135 w 219"/>
                <a:gd name="T19" fmla="*/ 217 h 219"/>
                <a:gd name="T20" fmla="*/ 101 w 219"/>
                <a:gd name="T21" fmla="*/ 219 h 219"/>
                <a:gd name="T22" fmla="*/ 69 w 219"/>
                <a:gd name="T23" fmla="*/ 211 h 219"/>
                <a:gd name="T24" fmla="*/ 37 w 219"/>
                <a:gd name="T25" fmla="*/ 193 h 219"/>
                <a:gd name="T26" fmla="*/ 14 w 219"/>
                <a:gd name="T27" fmla="*/ 168 h 219"/>
                <a:gd name="T28" fmla="*/ 3 w 219"/>
                <a:gd name="T29" fmla="*/ 136 h 219"/>
                <a:gd name="T30" fmla="*/ 0 w 219"/>
                <a:gd name="T31" fmla="*/ 104 h 219"/>
                <a:gd name="T32" fmla="*/ 6 w 219"/>
                <a:gd name="T33" fmla="*/ 70 h 219"/>
                <a:gd name="T34" fmla="*/ 26 w 219"/>
                <a:gd name="T35" fmla="*/ 41 h 219"/>
                <a:gd name="T36" fmla="*/ 52 w 219"/>
                <a:gd name="T37" fmla="*/ 18 h 219"/>
                <a:gd name="T38" fmla="*/ 80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78" y="26"/>
                  </a:lnTo>
                  <a:lnTo>
                    <a:pt x="202" y="52"/>
                  </a:lnTo>
                  <a:lnTo>
                    <a:pt x="216" y="84"/>
                  </a:lnTo>
                  <a:lnTo>
                    <a:pt x="219" y="119"/>
                  </a:lnTo>
                  <a:lnTo>
                    <a:pt x="210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5" y="217"/>
                  </a:lnTo>
                  <a:lnTo>
                    <a:pt x="101" y="219"/>
                  </a:lnTo>
                  <a:lnTo>
                    <a:pt x="69" y="211"/>
                  </a:lnTo>
                  <a:lnTo>
                    <a:pt x="37" y="193"/>
                  </a:lnTo>
                  <a:lnTo>
                    <a:pt x="14" y="168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6" y="70"/>
                  </a:lnTo>
                  <a:lnTo>
                    <a:pt x="26" y="41"/>
                  </a:lnTo>
                  <a:lnTo>
                    <a:pt x="52" y="18"/>
                  </a:lnTo>
                  <a:lnTo>
                    <a:pt x="80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1" name="Freeform 250">
              <a:extLst>
                <a:ext uri="{FF2B5EF4-FFF2-40B4-BE49-F238E27FC236}">
                  <a16:creationId xmlns:a16="http://schemas.microsoft.com/office/drawing/2014/main" id="{936A02E7-A8EA-45A5-A790-59D5C128132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490514" y="1193011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0 w 219"/>
                <a:gd name="T3" fmla="*/ 6 h 219"/>
                <a:gd name="T4" fmla="*/ 181 w 219"/>
                <a:gd name="T5" fmla="*/ 26 h 219"/>
                <a:gd name="T6" fmla="*/ 204 w 219"/>
                <a:gd name="T7" fmla="*/ 52 h 219"/>
                <a:gd name="T8" fmla="*/ 216 w 219"/>
                <a:gd name="T9" fmla="*/ 81 h 219"/>
                <a:gd name="T10" fmla="*/ 219 w 219"/>
                <a:gd name="T11" fmla="*/ 115 h 219"/>
                <a:gd name="T12" fmla="*/ 213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8 w 219"/>
                <a:gd name="T19" fmla="*/ 216 h 219"/>
                <a:gd name="T20" fmla="*/ 103 w 219"/>
                <a:gd name="T21" fmla="*/ 219 h 219"/>
                <a:gd name="T22" fmla="*/ 69 w 219"/>
                <a:gd name="T23" fmla="*/ 211 h 219"/>
                <a:gd name="T24" fmla="*/ 40 w 219"/>
                <a:gd name="T25" fmla="*/ 190 h 219"/>
                <a:gd name="T26" fmla="*/ 17 w 219"/>
                <a:gd name="T27" fmla="*/ 167 h 219"/>
                <a:gd name="T28" fmla="*/ 3 w 219"/>
                <a:gd name="T29" fmla="*/ 136 h 219"/>
                <a:gd name="T30" fmla="*/ 0 w 219"/>
                <a:gd name="T31" fmla="*/ 101 h 219"/>
                <a:gd name="T32" fmla="*/ 8 w 219"/>
                <a:gd name="T33" fmla="*/ 66 h 219"/>
                <a:gd name="T34" fmla="*/ 26 w 219"/>
                <a:gd name="T35" fmla="*/ 38 h 219"/>
                <a:gd name="T36" fmla="*/ 52 w 219"/>
                <a:gd name="T37" fmla="*/ 15 h 219"/>
                <a:gd name="T38" fmla="*/ 83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0" y="6"/>
                  </a:lnTo>
                  <a:lnTo>
                    <a:pt x="181" y="26"/>
                  </a:lnTo>
                  <a:lnTo>
                    <a:pt x="204" y="52"/>
                  </a:lnTo>
                  <a:lnTo>
                    <a:pt x="216" y="81"/>
                  </a:lnTo>
                  <a:lnTo>
                    <a:pt x="219" y="115"/>
                  </a:lnTo>
                  <a:lnTo>
                    <a:pt x="213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8" y="216"/>
                  </a:lnTo>
                  <a:lnTo>
                    <a:pt x="103" y="219"/>
                  </a:lnTo>
                  <a:lnTo>
                    <a:pt x="69" y="211"/>
                  </a:lnTo>
                  <a:lnTo>
                    <a:pt x="40" y="190"/>
                  </a:lnTo>
                  <a:lnTo>
                    <a:pt x="17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8" y="66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2" name="Freeform 251">
              <a:extLst>
                <a:ext uri="{FF2B5EF4-FFF2-40B4-BE49-F238E27FC236}">
                  <a16:creationId xmlns:a16="http://schemas.microsoft.com/office/drawing/2014/main" id="{012DA893-4204-494F-94CB-82B0861A9B4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638525" y="1024199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50 w 216"/>
                <a:gd name="T3" fmla="*/ 8 h 219"/>
                <a:gd name="T4" fmla="*/ 179 w 216"/>
                <a:gd name="T5" fmla="*/ 25 h 219"/>
                <a:gd name="T6" fmla="*/ 202 w 216"/>
                <a:gd name="T7" fmla="*/ 51 h 219"/>
                <a:gd name="T8" fmla="*/ 213 w 216"/>
                <a:gd name="T9" fmla="*/ 80 h 219"/>
                <a:gd name="T10" fmla="*/ 216 w 216"/>
                <a:gd name="T11" fmla="*/ 115 h 219"/>
                <a:gd name="T12" fmla="*/ 208 w 216"/>
                <a:gd name="T13" fmla="*/ 149 h 219"/>
                <a:gd name="T14" fmla="*/ 190 w 216"/>
                <a:gd name="T15" fmla="*/ 181 h 219"/>
                <a:gd name="T16" fmla="*/ 164 w 216"/>
                <a:gd name="T17" fmla="*/ 201 h 219"/>
                <a:gd name="T18" fmla="*/ 136 w 216"/>
                <a:gd name="T19" fmla="*/ 216 h 219"/>
                <a:gd name="T20" fmla="*/ 101 w 216"/>
                <a:gd name="T21" fmla="*/ 219 h 219"/>
                <a:gd name="T22" fmla="*/ 66 w 216"/>
                <a:gd name="T23" fmla="*/ 210 h 219"/>
                <a:gd name="T24" fmla="*/ 38 w 216"/>
                <a:gd name="T25" fmla="*/ 193 h 219"/>
                <a:gd name="T26" fmla="*/ 14 w 216"/>
                <a:gd name="T27" fmla="*/ 167 h 219"/>
                <a:gd name="T28" fmla="*/ 3 w 216"/>
                <a:gd name="T29" fmla="*/ 135 h 219"/>
                <a:gd name="T30" fmla="*/ 0 w 216"/>
                <a:gd name="T31" fmla="*/ 100 h 219"/>
                <a:gd name="T32" fmla="*/ 6 w 216"/>
                <a:gd name="T33" fmla="*/ 69 h 219"/>
                <a:gd name="T34" fmla="*/ 26 w 216"/>
                <a:gd name="T35" fmla="*/ 37 h 219"/>
                <a:gd name="T36" fmla="*/ 52 w 216"/>
                <a:gd name="T37" fmla="*/ 14 h 219"/>
                <a:gd name="T38" fmla="*/ 81 w 216"/>
                <a:gd name="T39" fmla="*/ 2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50" y="8"/>
                  </a:lnTo>
                  <a:lnTo>
                    <a:pt x="179" y="25"/>
                  </a:lnTo>
                  <a:lnTo>
                    <a:pt x="202" y="51"/>
                  </a:lnTo>
                  <a:lnTo>
                    <a:pt x="213" y="80"/>
                  </a:lnTo>
                  <a:lnTo>
                    <a:pt x="216" y="115"/>
                  </a:lnTo>
                  <a:lnTo>
                    <a:pt x="208" y="149"/>
                  </a:lnTo>
                  <a:lnTo>
                    <a:pt x="190" y="181"/>
                  </a:lnTo>
                  <a:lnTo>
                    <a:pt x="164" y="201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6" y="210"/>
                  </a:lnTo>
                  <a:lnTo>
                    <a:pt x="38" y="193"/>
                  </a:lnTo>
                  <a:lnTo>
                    <a:pt x="14" y="167"/>
                  </a:lnTo>
                  <a:lnTo>
                    <a:pt x="3" y="135"/>
                  </a:lnTo>
                  <a:lnTo>
                    <a:pt x="0" y="100"/>
                  </a:lnTo>
                  <a:lnTo>
                    <a:pt x="6" y="69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1" y="2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3" name="Freeform 252">
              <a:extLst>
                <a:ext uri="{FF2B5EF4-FFF2-40B4-BE49-F238E27FC236}">
                  <a16:creationId xmlns:a16="http://schemas.microsoft.com/office/drawing/2014/main" id="{29B974A7-B1AD-4F7B-A9F5-DBBC7B4E0F2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797736" y="867387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3 w 219"/>
                <a:gd name="T3" fmla="*/ 8 h 219"/>
                <a:gd name="T4" fmla="*/ 182 w 219"/>
                <a:gd name="T5" fmla="*/ 25 h 219"/>
                <a:gd name="T6" fmla="*/ 205 w 219"/>
                <a:gd name="T7" fmla="*/ 51 h 219"/>
                <a:gd name="T8" fmla="*/ 216 w 219"/>
                <a:gd name="T9" fmla="*/ 83 h 219"/>
                <a:gd name="T10" fmla="*/ 219 w 219"/>
                <a:gd name="T11" fmla="*/ 118 h 219"/>
                <a:gd name="T12" fmla="*/ 211 w 219"/>
                <a:gd name="T13" fmla="*/ 149 h 219"/>
                <a:gd name="T14" fmla="*/ 193 w 219"/>
                <a:gd name="T15" fmla="*/ 181 h 219"/>
                <a:gd name="T16" fmla="*/ 167 w 219"/>
                <a:gd name="T17" fmla="*/ 201 h 219"/>
                <a:gd name="T18" fmla="*/ 139 w 219"/>
                <a:gd name="T19" fmla="*/ 216 h 219"/>
                <a:gd name="T20" fmla="*/ 104 w 219"/>
                <a:gd name="T21" fmla="*/ 219 h 219"/>
                <a:gd name="T22" fmla="*/ 69 w 219"/>
                <a:gd name="T23" fmla="*/ 210 h 219"/>
                <a:gd name="T24" fmla="*/ 41 w 219"/>
                <a:gd name="T25" fmla="*/ 193 h 219"/>
                <a:gd name="T26" fmla="*/ 18 w 219"/>
                <a:gd name="T27" fmla="*/ 167 h 219"/>
                <a:gd name="T28" fmla="*/ 3 w 219"/>
                <a:gd name="T29" fmla="*/ 135 h 219"/>
                <a:gd name="T30" fmla="*/ 0 w 219"/>
                <a:gd name="T31" fmla="*/ 103 h 219"/>
                <a:gd name="T32" fmla="*/ 9 w 219"/>
                <a:gd name="T33" fmla="*/ 69 h 219"/>
                <a:gd name="T34" fmla="*/ 26 w 219"/>
                <a:gd name="T35" fmla="*/ 37 h 219"/>
                <a:gd name="T36" fmla="*/ 52 w 219"/>
                <a:gd name="T37" fmla="*/ 17 h 219"/>
                <a:gd name="T38" fmla="*/ 84 w 219"/>
                <a:gd name="T39" fmla="*/ 2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3" y="8"/>
                  </a:lnTo>
                  <a:lnTo>
                    <a:pt x="182" y="25"/>
                  </a:lnTo>
                  <a:lnTo>
                    <a:pt x="205" y="51"/>
                  </a:lnTo>
                  <a:lnTo>
                    <a:pt x="216" y="83"/>
                  </a:lnTo>
                  <a:lnTo>
                    <a:pt x="219" y="118"/>
                  </a:lnTo>
                  <a:lnTo>
                    <a:pt x="211" y="149"/>
                  </a:lnTo>
                  <a:lnTo>
                    <a:pt x="193" y="181"/>
                  </a:lnTo>
                  <a:lnTo>
                    <a:pt x="167" y="201"/>
                  </a:lnTo>
                  <a:lnTo>
                    <a:pt x="139" y="216"/>
                  </a:lnTo>
                  <a:lnTo>
                    <a:pt x="104" y="219"/>
                  </a:lnTo>
                  <a:lnTo>
                    <a:pt x="69" y="210"/>
                  </a:lnTo>
                  <a:lnTo>
                    <a:pt x="41" y="193"/>
                  </a:lnTo>
                  <a:lnTo>
                    <a:pt x="18" y="167"/>
                  </a:lnTo>
                  <a:lnTo>
                    <a:pt x="3" y="135"/>
                  </a:lnTo>
                  <a:lnTo>
                    <a:pt x="0" y="103"/>
                  </a:lnTo>
                  <a:lnTo>
                    <a:pt x="9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4" y="2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4" name="Freeform 253">
              <a:extLst>
                <a:ext uri="{FF2B5EF4-FFF2-40B4-BE49-F238E27FC236}">
                  <a16:creationId xmlns:a16="http://schemas.microsoft.com/office/drawing/2014/main" id="{3B79715D-9983-42E4-96FC-6307C75D98D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968149" y="722577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50 w 216"/>
                <a:gd name="T3" fmla="*/ 9 h 219"/>
                <a:gd name="T4" fmla="*/ 179 w 216"/>
                <a:gd name="T5" fmla="*/ 26 h 219"/>
                <a:gd name="T6" fmla="*/ 202 w 216"/>
                <a:gd name="T7" fmla="*/ 52 h 219"/>
                <a:gd name="T8" fmla="*/ 213 w 216"/>
                <a:gd name="T9" fmla="*/ 84 h 219"/>
                <a:gd name="T10" fmla="*/ 216 w 216"/>
                <a:gd name="T11" fmla="*/ 115 h 219"/>
                <a:gd name="T12" fmla="*/ 207 w 216"/>
                <a:gd name="T13" fmla="*/ 150 h 219"/>
                <a:gd name="T14" fmla="*/ 190 w 216"/>
                <a:gd name="T15" fmla="*/ 182 h 219"/>
                <a:gd name="T16" fmla="*/ 164 w 216"/>
                <a:gd name="T17" fmla="*/ 202 h 219"/>
                <a:gd name="T18" fmla="*/ 135 w 216"/>
                <a:gd name="T19" fmla="*/ 216 h 219"/>
                <a:gd name="T20" fmla="*/ 101 w 216"/>
                <a:gd name="T21" fmla="*/ 219 h 219"/>
                <a:gd name="T22" fmla="*/ 66 w 216"/>
                <a:gd name="T23" fmla="*/ 211 h 219"/>
                <a:gd name="T24" fmla="*/ 37 w 216"/>
                <a:gd name="T25" fmla="*/ 193 h 219"/>
                <a:gd name="T26" fmla="*/ 14 w 216"/>
                <a:gd name="T27" fmla="*/ 167 h 219"/>
                <a:gd name="T28" fmla="*/ 3 w 216"/>
                <a:gd name="T29" fmla="*/ 138 h 219"/>
                <a:gd name="T30" fmla="*/ 0 w 216"/>
                <a:gd name="T31" fmla="*/ 104 h 219"/>
                <a:gd name="T32" fmla="*/ 6 w 216"/>
                <a:gd name="T33" fmla="*/ 69 h 219"/>
                <a:gd name="T34" fmla="*/ 23 w 216"/>
                <a:gd name="T35" fmla="*/ 40 h 219"/>
                <a:gd name="T36" fmla="*/ 49 w 216"/>
                <a:gd name="T37" fmla="*/ 17 h 219"/>
                <a:gd name="T38" fmla="*/ 81 w 216"/>
                <a:gd name="T39" fmla="*/ 3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3" y="84"/>
                  </a:lnTo>
                  <a:lnTo>
                    <a:pt x="216" y="115"/>
                  </a:lnTo>
                  <a:lnTo>
                    <a:pt x="207" y="150"/>
                  </a:lnTo>
                  <a:lnTo>
                    <a:pt x="190" y="182"/>
                  </a:lnTo>
                  <a:lnTo>
                    <a:pt x="164" y="202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6" y="211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3" y="138"/>
                  </a:lnTo>
                  <a:lnTo>
                    <a:pt x="0" y="104"/>
                  </a:lnTo>
                  <a:lnTo>
                    <a:pt x="6" y="69"/>
                  </a:lnTo>
                  <a:lnTo>
                    <a:pt x="23" y="40"/>
                  </a:lnTo>
                  <a:lnTo>
                    <a:pt x="49" y="17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5" name="Freeform 254">
              <a:extLst>
                <a:ext uri="{FF2B5EF4-FFF2-40B4-BE49-F238E27FC236}">
                  <a16:creationId xmlns:a16="http://schemas.microsoft.com/office/drawing/2014/main" id="{EAE7274F-BD79-4A9F-B055-CED46C59EF1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148161" y="591368"/>
              <a:ext cx="175213" cy="172813"/>
            </a:xfrm>
            <a:custGeom>
              <a:avLst/>
              <a:gdLst>
                <a:gd name="T0" fmla="*/ 115 w 219"/>
                <a:gd name="T1" fmla="*/ 0 h 216"/>
                <a:gd name="T2" fmla="*/ 150 w 219"/>
                <a:gd name="T3" fmla="*/ 6 h 216"/>
                <a:gd name="T4" fmla="*/ 179 w 219"/>
                <a:gd name="T5" fmla="*/ 26 h 216"/>
                <a:gd name="T6" fmla="*/ 202 w 219"/>
                <a:gd name="T7" fmla="*/ 49 h 216"/>
                <a:gd name="T8" fmla="*/ 216 w 219"/>
                <a:gd name="T9" fmla="*/ 81 h 216"/>
                <a:gd name="T10" fmla="*/ 219 w 219"/>
                <a:gd name="T11" fmla="*/ 116 h 216"/>
                <a:gd name="T12" fmla="*/ 210 w 219"/>
                <a:gd name="T13" fmla="*/ 150 h 216"/>
                <a:gd name="T14" fmla="*/ 193 w 219"/>
                <a:gd name="T15" fmla="*/ 179 h 216"/>
                <a:gd name="T16" fmla="*/ 167 w 219"/>
                <a:gd name="T17" fmla="*/ 202 h 216"/>
                <a:gd name="T18" fmla="*/ 136 w 219"/>
                <a:gd name="T19" fmla="*/ 214 h 216"/>
                <a:gd name="T20" fmla="*/ 101 w 219"/>
                <a:gd name="T21" fmla="*/ 216 h 216"/>
                <a:gd name="T22" fmla="*/ 69 w 219"/>
                <a:gd name="T23" fmla="*/ 211 h 216"/>
                <a:gd name="T24" fmla="*/ 38 w 219"/>
                <a:gd name="T25" fmla="*/ 191 h 216"/>
                <a:gd name="T26" fmla="*/ 14 w 219"/>
                <a:gd name="T27" fmla="*/ 165 h 216"/>
                <a:gd name="T28" fmla="*/ 3 w 219"/>
                <a:gd name="T29" fmla="*/ 136 h 216"/>
                <a:gd name="T30" fmla="*/ 0 w 219"/>
                <a:gd name="T31" fmla="*/ 101 h 216"/>
                <a:gd name="T32" fmla="*/ 9 w 219"/>
                <a:gd name="T33" fmla="*/ 67 h 216"/>
                <a:gd name="T34" fmla="*/ 26 w 219"/>
                <a:gd name="T35" fmla="*/ 38 h 216"/>
                <a:gd name="T36" fmla="*/ 52 w 219"/>
                <a:gd name="T37" fmla="*/ 15 h 216"/>
                <a:gd name="T38" fmla="*/ 84 w 219"/>
                <a:gd name="T39" fmla="*/ 3 h 216"/>
                <a:gd name="T40" fmla="*/ 115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5" y="0"/>
                  </a:moveTo>
                  <a:lnTo>
                    <a:pt x="150" y="6"/>
                  </a:lnTo>
                  <a:lnTo>
                    <a:pt x="179" y="26"/>
                  </a:lnTo>
                  <a:lnTo>
                    <a:pt x="202" y="49"/>
                  </a:lnTo>
                  <a:lnTo>
                    <a:pt x="216" y="81"/>
                  </a:lnTo>
                  <a:lnTo>
                    <a:pt x="219" y="116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6" y="214"/>
                  </a:lnTo>
                  <a:lnTo>
                    <a:pt x="101" y="216"/>
                  </a:lnTo>
                  <a:lnTo>
                    <a:pt x="69" y="211"/>
                  </a:lnTo>
                  <a:lnTo>
                    <a:pt x="38" y="191"/>
                  </a:lnTo>
                  <a:lnTo>
                    <a:pt x="14" y="165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9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4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6" name="Freeform 255">
              <a:extLst>
                <a:ext uri="{FF2B5EF4-FFF2-40B4-BE49-F238E27FC236}">
                  <a16:creationId xmlns:a16="http://schemas.microsoft.com/office/drawing/2014/main" id="{9202EBE9-4ED0-49E4-A085-AF5EADB226D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339376" y="471358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50 w 216"/>
                <a:gd name="T3" fmla="*/ 9 h 219"/>
                <a:gd name="T4" fmla="*/ 178 w 216"/>
                <a:gd name="T5" fmla="*/ 26 h 219"/>
                <a:gd name="T6" fmla="*/ 201 w 216"/>
                <a:gd name="T7" fmla="*/ 52 h 219"/>
                <a:gd name="T8" fmla="*/ 213 w 216"/>
                <a:gd name="T9" fmla="*/ 84 h 219"/>
                <a:gd name="T10" fmla="*/ 216 w 216"/>
                <a:gd name="T11" fmla="*/ 116 h 219"/>
                <a:gd name="T12" fmla="*/ 210 w 216"/>
                <a:gd name="T13" fmla="*/ 150 h 219"/>
                <a:gd name="T14" fmla="*/ 190 w 216"/>
                <a:gd name="T15" fmla="*/ 182 h 219"/>
                <a:gd name="T16" fmla="*/ 164 w 216"/>
                <a:gd name="T17" fmla="*/ 202 h 219"/>
                <a:gd name="T18" fmla="*/ 135 w 216"/>
                <a:gd name="T19" fmla="*/ 216 h 219"/>
                <a:gd name="T20" fmla="*/ 101 w 216"/>
                <a:gd name="T21" fmla="*/ 219 h 219"/>
                <a:gd name="T22" fmla="*/ 66 w 216"/>
                <a:gd name="T23" fmla="*/ 211 h 219"/>
                <a:gd name="T24" fmla="*/ 37 w 216"/>
                <a:gd name="T25" fmla="*/ 193 h 219"/>
                <a:gd name="T26" fmla="*/ 14 w 216"/>
                <a:gd name="T27" fmla="*/ 167 h 219"/>
                <a:gd name="T28" fmla="*/ 3 w 216"/>
                <a:gd name="T29" fmla="*/ 136 h 219"/>
                <a:gd name="T30" fmla="*/ 0 w 216"/>
                <a:gd name="T31" fmla="*/ 101 h 219"/>
                <a:gd name="T32" fmla="*/ 5 w 216"/>
                <a:gd name="T33" fmla="*/ 69 h 219"/>
                <a:gd name="T34" fmla="*/ 23 w 216"/>
                <a:gd name="T35" fmla="*/ 38 h 219"/>
                <a:gd name="T36" fmla="*/ 49 w 216"/>
                <a:gd name="T37" fmla="*/ 18 h 219"/>
                <a:gd name="T38" fmla="*/ 80 w 216"/>
                <a:gd name="T39" fmla="*/ 3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50" y="9"/>
                  </a:lnTo>
                  <a:lnTo>
                    <a:pt x="178" y="26"/>
                  </a:lnTo>
                  <a:lnTo>
                    <a:pt x="201" y="52"/>
                  </a:lnTo>
                  <a:lnTo>
                    <a:pt x="213" y="84"/>
                  </a:lnTo>
                  <a:lnTo>
                    <a:pt x="216" y="116"/>
                  </a:lnTo>
                  <a:lnTo>
                    <a:pt x="210" y="150"/>
                  </a:lnTo>
                  <a:lnTo>
                    <a:pt x="190" y="182"/>
                  </a:lnTo>
                  <a:lnTo>
                    <a:pt x="164" y="202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6" y="211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5" y="69"/>
                  </a:lnTo>
                  <a:lnTo>
                    <a:pt x="23" y="38"/>
                  </a:lnTo>
                  <a:lnTo>
                    <a:pt x="49" y="18"/>
                  </a:lnTo>
                  <a:lnTo>
                    <a:pt x="80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7" name="Freeform 256">
              <a:extLst>
                <a:ext uri="{FF2B5EF4-FFF2-40B4-BE49-F238E27FC236}">
                  <a16:creationId xmlns:a16="http://schemas.microsoft.com/office/drawing/2014/main" id="{B412D5A8-C010-48EF-86BD-3AFB73D71B1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537790" y="367351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3 w 219"/>
                <a:gd name="T3" fmla="*/ 9 h 219"/>
                <a:gd name="T4" fmla="*/ 181 w 219"/>
                <a:gd name="T5" fmla="*/ 26 h 219"/>
                <a:gd name="T6" fmla="*/ 205 w 219"/>
                <a:gd name="T7" fmla="*/ 52 h 219"/>
                <a:gd name="T8" fmla="*/ 216 w 219"/>
                <a:gd name="T9" fmla="*/ 84 h 219"/>
                <a:gd name="T10" fmla="*/ 219 w 219"/>
                <a:gd name="T11" fmla="*/ 118 h 219"/>
                <a:gd name="T12" fmla="*/ 213 w 219"/>
                <a:gd name="T13" fmla="*/ 150 h 219"/>
                <a:gd name="T14" fmla="*/ 193 w 219"/>
                <a:gd name="T15" fmla="*/ 182 h 219"/>
                <a:gd name="T16" fmla="*/ 167 w 219"/>
                <a:gd name="T17" fmla="*/ 202 h 219"/>
                <a:gd name="T18" fmla="*/ 138 w 219"/>
                <a:gd name="T19" fmla="*/ 216 h 219"/>
                <a:gd name="T20" fmla="*/ 104 w 219"/>
                <a:gd name="T21" fmla="*/ 219 h 219"/>
                <a:gd name="T22" fmla="*/ 69 w 219"/>
                <a:gd name="T23" fmla="*/ 210 h 219"/>
                <a:gd name="T24" fmla="*/ 40 w 219"/>
                <a:gd name="T25" fmla="*/ 193 h 219"/>
                <a:gd name="T26" fmla="*/ 17 w 219"/>
                <a:gd name="T27" fmla="*/ 167 h 219"/>
                <a:gd name="T28" fmla="*/ 3 w 219"/>
                <a:gd name="T29" fmla="*/ 135 h 219"/>
                <a:gd name="T30" fmla="*/ 0 w 219"/>
                <a:gd name="T31" fmla="*/ 104 h 219"/>
                <a:gd name="T32" fmla="*/ 8 w 219"/>
                <a:gd name="T33" fmla="*/ 69 h 219"/>
                <a:gd name="T34" fmla="*/ 26 w 219"/>
                <a:gd name="T35" fmla="*/ 40 h 219"/>
                <a:gd name="T36" fmla="*/ 52 w 219"/>
                <a:gd name="T37" fmla="*/ 17 h 219"/>
                <a:gd name="T38" fmla="*/ 83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3" y="9"/>
                  </a:lnTo>
                  <a:lnTo>
                    <a:pt x="181" y="26"/>
                  </a:lnTo>
                  <a:lnTo>
                    <a:pt x="205" y="52"/>
                  </a:lnTo>
                  <a:lnTo>
                    <a:pt x="216" y="84"/>
                  </a:lnTo>
                  <a:lnTo>
                    <a:pt x="219" y="118"/>
                  </a:lnTo>
                  <a:lnTo>
                    <a:pt x="213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8" y="216"/>
                  </a:lnTo>
                  <a:lnTo>
                    <a:pt x="104" y="219"/>
                  </a:lnTo>
                  <a:lnTo>
                    <a:pt x="69" y="210"/>
                  </a:lnTo>
                  <a:lnTo>
                    <a:pt x="40" y="193"/>
                  </a:lnTo>
                  <a:lnTo>
                    <a:pt x="17" y="167"/>
                  </a:lnTo>
                  <a:lnTo>
                    <a:pt x="3" y="135"/>
                  </a:lnTo>
                  <a:lnTo>
                    <a:pt x="0" y="104"/>
                  </a:lnTo>
                  <a:lnTo>
                    <a:pt x="8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8" name="Freeform 257">
              <a:extLst>
                <a:ext uri="{FF2B5EF4-FFF2-40B4-BE49-F238E27FC236}">
                  <a16:creationId xmlns:a16="http://schemas.microsoft.com/office/drawing/2014/main" id="{B365A1B9-764C-4573-AEDF-4EE1A4283BB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743405" y="277744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3 w 219"/>
                <a:gd name="T3" fmla="*/ 6 h 219"/>
                <a:gd name="T4" fmla="*/ 182 w 219"/>
                <a:gd name="T5" fmla="*/ 26 h 219"/>
                <a:gd name="T6" fmla="*/ 205 w 219"/>
                <a:gd name="T7" fmla="*/ 52 h 219"/>
                <a:gd name="T8" fmla="*/ 216 w 219"/>
                <a:gd name="T9" fmla="*/ 84 h 219"/>
                <a:gd name="T10" fmla="*/ 219 w 219"/>
                <a:gd name="T11" fmla="*/ 116 h 219"/>
                <a:gd name="T12" fmla="*/ 211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9 w 219"/>
                <a:gd name="T19" fmla="*/ 217 h 219"/>
                <a:gd name="T20" fmla="*/ 104 w 219"/>
                <a:gd name="T21" fmla="*/ 219 h 219"/>
                <a:gd name="T22" fmla="*/ 69 w 219"/>
                <a:gd name="T23" fmla="*/ 211 h 219"/>
                <a:gd name="T24" fmla="*/ 41 w 219"/>
                <a:gd name="T25" fmla="*/ 193 h 219"/>
                <a:gd name="T26" fmla="*/ 18 w 219"/>
                <a:gd name="T27" fmla="*/ 168 h 219"/>
                <a:gd name="T28" fmla="*/ 3 w 219"/>
                <a:gd name="T29" fmla="*/ 136 h 219"/>
                <a:gd name="T30" fmla="*/ 0 w 219"/>
                <a:gd name="T31" fmla="*/ 101 h 219"/>
                <a:gd name="T32" fmla="*/ 9 w 219"/>
                <a:gd name="T33" fmla="*/ 67 h 219"/>
                <a:gd name="T34" fmla="*/ 26 w 219"/>
                <a:gd name="T35" fmla="*/ 38 h 219"/>
                <a:gd name="T36" fmla="*/ 52 w 219"/>
                <a:gd name="T37" fmla="*/ 15 h 219"/>
                <a:gd name="T38" fmla="*/ 84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3" y="6"/>
                  </a:lnTo>
                  <a:lnTo>
                    <a:pt x="182" y="26"/>
                  </a:lnTo>
                  <a:lnTo>
                    <a:pt x="205" y="52"/>
                  </a:lnTo>
                  <a:lnTo>
                    <a:pt x="216" y="84"/>
                  </a:lnTo>
                  <a:lnTo>
                    <a:pt x="219" y="116"/>
                  </a:lnTo>
                  <a:lnTo>
                    <a:pt x="211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9" y="217"/>
                  </a:lnTo>
                  <a:lnTo>
                    <a:pt x="104" y="219"/>
                  </a:lnTo>
                  <a:lnTo>
                    <a:pt x="69" y="211"/>
                  </a:lnTo>
                  <a:lnTo>
                    <a:pt x="41" y="193"/>
                  </a:lnTo>
                  <a:lnTo>
                    <a:pt x="18" y="168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9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4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9" name="Freeform 258">
              <a:extLst>
                <a:ext uri="{FF2B5EF4-FFF2-40B4-BE49-F238E27FC236}">
                  <a16:creationId xmlns:a16="http://schemas.microsoft.com/office/drawing/2014/main" id="{B202F5D6-CF71-4249-B2A7-52AA948A6B0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172237" y="145735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50 w 216"/>
                <a:gd name="T3" fmla="*/ 8 h 219"/>
                <a:gd name="T4" fmla="*/ 179 w 216"/>
                <a:gd name="T5" fmla="*/ 26 h 219"/>
                <a:gd name="T6" fmla="*/ 202 w 216"/>
                <a:gd name="T7" fmla="*/ 52 h 219"/>
                <a:gd name="T8" fmla="*/ 213 w 216"/>
                <a:gd name="T9" fmla="*/ 83 h 219"/>
                <a:gd name="T10" fmla="*/ 216 w 216"/>
                <a:gd name="T11" fmla="*/ 115 h 219"/>
                <a:gd name="T12" fmla="*/ 210 w 216"/>
                <a:gd name="T13" fmla="*/ 150 h 219"/>
                <a:gd name="T14" fmla="*/ 190 w 216"/>
                <a:gd name="T15" fmla="*/ 181 h 219"/>
                <a:gd name="T16" fmla="*/ 167 w 216"/>
                <a:gd name="T17" fmla="*/ 201 h 219"/>
                <a:gd name="T18" fmla="*/ 135 w 216"/>
                <a:gd name="T19" fmla="*/ 216 h 219"/>
                <a:gd name="T20" fmla="*/ 101 w 216"/>
                <a:gd name="T21" fmla="*/ 219 h 219"/>
                <a:gd name="T22" fmla="*/ 66 w 216"/>
                <a:gd name="T23" fmla="*/ 210 h 219"/>
                <a:gd name="T24" fmla="*/ 37 w 216"/>
                <a:gd name="T25" fmla="*/ 193 h 219"/>
                <a:gd name="T26" fmla="*/ 14 w 216"/>
                <a:gd name="T27" fmla="*/ 167 h 219"/>
                <a:gd name="T28" fmla="*/ 3 w 216"/>
                <a:gd name="T29" fmla="*/ 135 h 219"/>
                <a:gd name="T30" fmla="*/ 0 w 216"/>
                <a:gd name="T31" fmla="*/ 103 h 219"/>
                <a:gd name="T32" fmla="*/ 6 w 216"/>
                <a:gd name="T33" fmla="*/ 69 h 219"/>
                <a:gd name="T34" fmla="*/ 26 w 216"/>
                <a:gd name="T35" fmla="*/ 37 h 219"/>
                <a:gd name="T36" fmla="*/ 52 w 216"/>
                <a:gd name="T37" fmla="*/ 17 h 219"/>
                <a:gd name="T38" fmla="*/ 81 w 216"/>
                <a:gd name="T39" fmla="*/ 3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50" y="8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3" y="83"/>
                  </a:lnTo>
                  <a:lnTo>
                    <a:pt x="216" y="115"/>
                  </a:lnTo>
                  <a:lnTo>
                    <a:pt x="210" y="150"/>
                  </a:lnTo>
                  <a:lnTo>
                    <a:pt x="190" y="181"/>
                  </a:lnTo>
                  <a:lnTo>
                    <a:pt x="167" y="201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6" y="210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3" y="135"/>
                  </a:lnTo>
                  <a:lnTo>
                    <a:pt x="0" y="103"/>
                  </a:lnTo>
                  <a:lnTo>
                    <a:pt x="6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0" name="Freeform 259">
              <a:extLst>
                <a:ext uri="{FF2B5EF4-FFF2-40B4-BE49-F238E27FC236}">
                  <a16:creationId xmlns:a16="http://schemas.microsoft.com/office/drawing/2014/main" id="{15E65207-BF02-41B7-8EF6-B0B3619AAB1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391452" y="104132"/>
              <a:ext cx="175213" cy="175213"/>
            </a:xfrm>
            <a:custGeom>
              <a:avLst/>
              <a:gdLst>
                <a:gd name="T0" fmla="*/ 116 w 219"/>
                <a:gd name="T1" fmla="*/ 0 h 219"/>
                <a:gd name="T2" fmla="*/ 150 w 219"/>
                <a:gd name="T3" fmla="*/ 8 h 219"/>
                <a:gd name="T4" fmla="*/ 182 w 219"/>
                <a:gd name="T5" fmla="*/ 25 h 219"/>
                <a:gd name="T6" fmla="*/ 202 w 219"/>
                <a:gd name="T7" fmla="*/ 51 h 219"/>
                <a:gd name="T8" fmla="*/ 216 w 219"/>
                <a:gd name="T9" fmla="*/ 83 h 219"/>
                <a:gd name="T10" fmla="*/ 219 w 219"/>
                <a:gd name="T11" fmla="*/ 115 h 219"/>
                <a:gd name="T12" fmla="*/ 211 w 219"/>
                <a:gd name="T13" fmla="*/ 149 h 219"/>
                <a:gd name="T14" fmla="*/ 193 w 219"/>
                <a:gd name="T15" fmla="*/ 181 h 219"/>
                <a:gd name="T16" fmla="*/ 167 w 219"/>
                <a:gd name="T17" fmla="*/ 201 h 219"/>
                <a:gd name="T18" fmla="*/ 136 w 219"/>
                <a:gd name="T19" fmla="*/ 216 h 219"/>
                <a:gd name="T20" fmla="*/ 104 w 219"/>
                <a:gd name="T21" fmla="*/ 219 h 219"/>
                <a:gd name="T22" fmla="*/ 69 w 219"/>
                <a:gd name="T23" fmla="*/ 210 h 219"/>
                <a:gd name="T24" fmla="*/ 38 w 219"/>
                <a:gd name="T25" fmla="*/ 193 h 219"/>
                <a:gd name="T26" fmla="*/ 18 w 219"/>
                <a:gd name="T27" fmla="*/ 167 h 219"/>
                <a:gd name="T28" fmla="*/ 3 w 219"/>
                <a:gd name="T29" fmla="*/ 135 h 219"/>
                <a:gd name="T30" fmla="*/ 0 w 219"/>
                <a:gd name="T31" fmla="*/ 103 h 219"/>
                <a:gd name="T32" fmla="*/ 9 w 219"/>
                <a:gd name="T33" fmla="*/ 69 h 219"/>
                <a:gd name="T34" fmla="*/ 26 w 219"/>
                <a:gd name="T35" fmla="*/ 40 h 219"/>
                <a:gd name="T36" fmla="*/ 52 w 219"/>
                <a:gd name="T37" fmla="*/ 17 h 219"/>
                <a:gd name="T38" fmla="*/ 84 w 219"/>
                <a:gd name="T39" fmla="*/ 2 h 219"/>
                <a:gd name="T40" fmla="*/ 116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6" y="0"/>
                  </a:moveTo>
                  <a:lnTo>
                    <a:pt x="150" y="8"/>
                  </a:lnTo>
                  <a:lnTo>
                    <a:pt x="182" y="25"/>
                  </a:lnTo>
                  <a:lnTo>
                    <a:pt x="202" y="51"/>
                  </a:lnTo>
                  <a:lnTo>
                    <a:pt x="216" y="83"/>
                  </a:lnTo>
                  <a:lnTo>
                    <a:pt x="219" y="115"/>
                  </a:lnTo>
                  <a:lnTo>
                    <a:pt x="211" y="149"/>
                  </a:lnTo>
                  <a:lnTo>
                    <a:pt x="193" y="181"/>
                  </a:lnTo>
                  <a:lnTo>
                    <a:pt x="167" y="201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69" y="210"/>
                  </a:lnTo>
                  <a:lnTo>
                    <a:pt x="38" y="193"/>
                  </a:lnTo>
                  <a:lnTo>
                    <a:pt x="18" y="167"/>
                  </a:lnTo>
                  <a:lnTo>
                    <a:pt x="3" y="135"/>
                  </a:lnTo>
                  <a:lnTo>
                    <a:pt x="0" y="103"/>
                  </a:lnTo>
                  <a:lnTo>
                    <a:pt x="9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4" y="2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1" name="Freeform 260">
              <a:extLst>
                <a:ext uri="{FF2B5EF4-FFF2-40B4-BE49-F238E27FC236}">
                  <a16:creationId xmlns:a16="http://schemas.microsoft.com/office/drawing/2014/main" id="{2AC3CC23-63F2-4FF0-9A49-9AEEC8F6FF9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614669" y="79330"/>
              <a:ext cx="173613" cy="175213"/>
            </a:xfrm>
            <a:custGeom>
              <a:avLst/>
              <a:gdLst>
                <a:gd name="T0" fmla="*/ 116 w 217"/>
                <a:gd name="T1" fmla="*/ 0 h 219"/>
                <a:gd name="T2" fmla="*/ 150 w 217"/>
                <a:gd name="T3" fmla="*/ 9 h 219"/>
                <a:gd name="T4" fmla="*/ 179 w 217"/>
                <a:gd name="T5" fmla="*/ 26 h 219"/>
                <a:gd name="T6" fmla="*/ 202 w 217"/>
                <a:gd name="T7" fmla="*/ 52 h 219"/>
                <a:gd name="T8" fmla="*/ 214 w 217"/>
                <a:gd name="T9" fmla="*/ 84 h 219"/>
                <a:gd name="T10" fmla="*/ 217 w 217"/>
                <a:gd name="T11" fmla="*/ 118 h 219"/>
                <a:gd name="T12" fmla="*/ 211 w 217"/>
                <a:gd name="T13" fmla="*/ 150 h 219"/>
                <a:gd name="T14" fmla="*/ 191 w 217"/>
                <a:gd name="T15" fmla="*/ 182 h 219"/>
                <a:gd name="T16" fmla="*/ 168 w 217"/>
                <a:gd name="T17" fmla="*/ 202 h 219"/>
                <a:gd name="T18" fmla="*/ 136 w 217"/>
                <a:gd name="T19" fmla="*/ 216 h 219"/>
                <a:gd name="T20" fmla="*/ 101 w 217"/>
                <a:gd name="T21" fmla="*/ 219 h 219"/>
                <a:gd name="T22" fmla="*/ 67 w 217"/>
                <a:gd name="T23" fmla="*/ 211 h 219"/>
                <a:gd name="T24" fmla="*/ 38 w 217"/>
                <a:gd name="T25" fmla="*/ 193 h 219"/>
                <a:gd name="T26" fmla="*/ 15 w 217"/>
                <a:gd name="T27" fmla="*/ 167 h 219"/>
                <a:gd name="T28" fmla="*/ 3 w 217"/>
                <a:gd name="T29" fmla="*/ 139 h 219"/>
                <a:gd name="T30" fmla="*/ 0 w 217"/>
                <a:gd name="T31" fmla="*/ 104 h 219"/>
                <a:gd name="T32" fmla="*/ 6 w 217"/>
                <a:gd name="T33" fmla="*/ 69 h 219"/>
                <a:gd name="T34" fmla="*/ 26 w 217"/>
                <a:gd name="T35" fmla="*/ 41 h 219"/>
                <a:gd name="T36" fmla="*/ 52 w 217"/>
                <a:gd name="T37" fmla="*/ 18 h 219"/>
                <a:gd name="T38" fmla="*/ 81 w 217"/>
                <a:gd name="T39" fmla="*/ 3 h 219"/>
                <a:gd name="T40" fmla="*/ 116 w 217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7" h="219">
                  <a:moveTo>
                    <a:pt x="116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4" y="84"/>
                  </a:lnTo>
                  <a:lnTo>
                    <a:pt x="217" y="118"/>
                  </a:lnTo>
                  <a:lnTo>
                    <a:pt x="211" y="150"/>
                  </a:lnTo>
                  <a:lnTo>
                    <a:pt x="191" y="182"/>
                  </a:lnTo>
                  <a:lnTo>
                    <a:pt x="168" y="202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7" y="211"/>
                  </a:lnTo>
                  <a:lnTo>
                    <a:pt x="38" y="193"/>
                  </a:lnTo>
                  <a:lnTo>
                    <a:pt x="15" y="167"/>
                  </a:lnTo>
                  <a:lnTo>
                    <a:pt x="3" y="139"/>
                  </a:lnTo>
                  <a:lnTo>
                    <a:pt x="0" y="104"/>
                  </a:lnTo>
                  <a:lnTo>
                    <a:pt x="6" y="69"/>
                  </a:lnTo>
                  <a:lnTo>
                    <a:pt x="26" y="41"/>
                  </a:lnTo>
                  <a:lnTo>
                    <a:pt x="52" y="18"/>
                  </a:lnTo>
                  <a:lnTo>
                    <a:pt x="81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2" name="Freeform 261">
              <a:extLst>
                <a:ext uri="{FF2B5EF4-FFF2-40B4-BE49-F238E27FC236}">
                  <a16:creationId xmlns:a16="http://schemas.microsoft.com/office/drawing/2014/main" id="{B6FF206B-3084-4F05-A045-928A1417DC60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838685" y="69729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50 w 216"/>
                <a:gd name="T3" fmla="*/ 8 h 219"/>
                <a:gd name="T4" fmla="*/ 179 w 216"/>
                <a:gd name="T5" fmla="*/ 26 h 219"/>
                <a:gd name="T6" fmla="*/ 202 w 216"/>
                <a:gd name="T7" fmla="*/ 52 h 219"/>
                <a:gd name="T8" fmla="*/ 213 w 216"/>
                <a:gd name="T9" fmla="*/ 83 h 219"/>
                <a:gd name="T10" fmla="*/ 216 w 216"/>
                <a:gd name="T11" fmla="*/ 118 h 219"/>
                <a:gd name="T12" fmla="*/ 210 w 216"/>
                <a:gd name="T13" fmla="*/ 150 h 219"/>
                <a:gd name="T14" fmla="*/ 190 w 216"/>
                <a:gd name="T15" fmla="*/ 181 h 219"/>
                <a:gd name="T16" fmla="*/ 164 w 216"/>
                <a:gd name="T17" fmla="*/ 202 h 219"/>
                <a:gd name="T18" fmla="*/ 135 w 216"/>
                <a:gd name="T19" fmla="*/ 216 h 219"/>
                <a:gd name="T20" fmla="*/ 101 w 216"/>
                <a:gd name="T21" fmla="*/ 219 h 219"/>
                <a:gd name="T22" fmla="*/ 66 w 216"/>
                <a:gd name="T23" fmla="*/ 210 h 219"/>
                <a:gd name="T24" fmla="*/ 37 w 216"/>
                <a:gd name="T25" fmla="*/ 193 h 219"/>
                <a:gd name="T26" fmla="*/ 14 w 216"/>
                <a:gd name="T27" fmla="*/ 167 h 219"/>
                <a:gd name="T28" fmla="*/ 3 w 216"/>
                <a:gd name="T29" fmla="*/ 135 h 219"/>
                <a:gd name="T30" fmla="*/ 0 w 216"/>
                <a:gd name="T31" fmla="*/ 104 h 219"/>
                <a:gd name="T32" fmla="*/ 6 w 216"/>
                <a:gd name="T33" fmla="*/ 69 h 219"/>
                <a:gd name="T34" fmla="*/ 26 w 216"/>
                <a:gd name="T35" fmla="*/ 37 h 219"/>
                <a:gd name="T36" fmla="*/ 52 w 216"/>
                <a:gd name="T37" fmla="*/ 17 h 219"/>
                <a:gd name="T38" fmla="*/ 81 w 216"/>
                <a:gd name="T39" fmla="*/ 3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50" y="8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3" y="83"/>
                  </a:lnTo>
                  <a:lnTo>
                    <a:pt x="216" y="118"/>
                  </a:lnTo>
                  <a:lnTo>
                    <a:pt x="210" y="150"/>
                  </a:lnTo>
                  <a:lnTo>
                    <a:pt x="190" y="181"/>
                  </a:lnTo>
                  <a:lnTo>
                    <a:pt x="164" y="202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6" y="210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3" y="135"/>
                  </a:lnTo>
                  <a:lnTo>
                    <a:pt x="0" y="104"/>
                  </a:lnTo>
                  <a:lnTo>
                    <a:pt x="6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3" name="Freeform 262">
              <a:extLst>
                <a:ext uri="{FF2B5EF4-FFF2-40B4-BE49-F238E27FC236}">
                  <a16:creationId xmlns:a16="http://schemas.microsoft.com/office/drawing/2014/main" id="{D1CEEDA3-FC83-409D-A72A-F06DC2CA2DE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2062701" y="76930"/>
              <a:ext cx="172813" cy="175213"/>
            </a:xfrm>
            <a:custGeom>
              <a:avLst/>
              <a:gdLst>
                <a:gd name="T0" fmla="*/ 116 w 216"/>
                <a:gd name="T1" fmla="*/ 0 h 219"/>
                <a:gd name="T2" fmla="*/ 150 w 216"/>
                <a:gd name="T3" fmla="*/ 9 h 219"/>
                <a:gd name="T4" fmla="*/ 179 w 216"/>
                <a:gd name="T5" fmla="*/ 26 h 219"/>
                <a:gd name="T6" fmla="*/ 202 w 216"/>
                <a:gd name="T7" fmla="*/ 52 h 219"/>
                <a:gd name="T8" fmla="*/ 214 w 216"/>
                <a:gd name="T9" fmla="*/ 81 h 219"/>
                <a:gd name="T10" fmla="*/ 216 w 216"/>
                <a:gd name="T11" fmla="*/ 115 h 219"/>
                <a:gd name="T12" fmla="*/ 211 w 216"/>
                <a:gd name="T13" fmla="*/ 150 h 219"/>
                <a:gd name="T14" fmla="*/ 190 w 216"/>
                <a:gd name="T15" fmla="*/ 179 h 219"/>
                <a:gd name="T16" fmla="*/ 165 w 216"/>
                <a:gd name="T17" fmla="*/ 202 h 219"/>
                <a:gd name="T18" fmla="*/ 136 w 216"/>
                <a:gd name="T19" fmla="*/ 216 h 219"/>
                <a:gd name="T20" fmla="*/ 101 w 216"/>
                <a:gd name="T21" fmla="*/ 219 h 219"/>
                <a:gd name="T22" fmla="*/ 66 w 216"/>
                <a:gd name="T23" fmla="*/ 211 h 219"/>
                <a:gd name="T24" fmla="*/ 38 w 216"/>
                <a:gd name="T25" fmla="*/ 193 h 219"/>
                <a:gd name="T26" fmla="*/ 15 w 216"/>
                <a:gd name="T27" fmla="*/ 167 h 219"/>
                <a:gd name="T28" fmla="*/ 3 w 216"/>
                <a:gd name="T29" fmla="*/ 136 h 219"/>
                <a:gd name="T30" fmla="*/ 0 w 216"/>
                <a:gd name="T31" fmla="*/ 101 h 219"/>
                <a:gd name="T32" fmla="*/ 6 w 216"/>
                <a:gd name="T33" fmla="*/ 69 h 219"/>
                <a:gd name="T34" fmla="*/ 26 w 216"/>
                <a:gd name="T35" fmla="*/ 38 h 219"/>
                <a:gd name="T36" fmla="*/ 49 w 216"/>
                <a:gd name="T37" fmla="*/ 17 h 219"/>
                <a:gd name="T38" fmla="*/ 81 w 216"/>
                <a:gd name="T39" fmla="*/ 3 h 219"/>
                <a:gd name="T40" fmla="*/ 116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6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4" y="81"/>
                  </a:lnTo>
                  <a:lnTo>
                    <a:pt x="216" y="115"/>
                  </a:lnTo>
                  <a:lnTo>
                    <a:pt x="211" y="150"/>
                  </a:lnTo>
                  <a:lnTo>
                    <a:pt x="190" y="179"/>
                  </a:lnTo>
                  <a:lnTo>
                    <a:pt x="165" y="202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6" y="211"/>
                  </a:lnTo>
                  <a:lnTo>
                    <a:pt x="38" y="193"/>
                  </a:lnTo>
                  <a:lnTo>
                    <a:pt x="15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6" y="69"/>
                  </a:lnTo>
                  <a:lnTo>
                    <a:pt x="26" y="38"/>
                  </a:lnTo>
                  <a:lnTo>
                    <a:pt x="49" y="17"/>
                  </a:lnTo>
                  <a:lnTo>
                    <a:pt x="81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4" name="Freeform 263">
              <a:extLst>
                <a:ext uri="{FF2B5EF4-FFF2-40B4-BE49-F238E27FC236}">
                  <a16:creationId xmlns:a16="http://schemas.microsoft.com/office/drawing/2014/main" id="{B6DA8E65-D1F5-4544-B10C-9A9DDA21CF4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969894" y="6131771"/>
              <a:ext cx="172813" cy="172813"/>
            </a:xfrm>
            <a:custGeom>
              <a:avLst/>
              <a:gdLst>
                <a:gd name="T0" fmla="*/ 115 w 216"/>
                <a:gd name="T1" fmla="*/ 0 h 216"/>
                <a:gd name="T2" fmla="*/ 149 w 216"/>
                <a:gd name="T3" fmla="*/ 5 h 216"/>
                <a:gd name="T4" fmla="*/ 178 w 216"/>
                <a:gd name="T5" fmla="*/ 25 h 216"/>
                <a:gd name="T6" fmla="*/ 201 w 216"/>
                <a:gd name="T7" fmla="*/ 51 h 216"/>
                <a:gd name="T8" fmla="*/ 213 w 216"/>
                <a:gd name="T9" fmla="*/ 80 h 216"/>
                <a:gd name="T10" fmla="*/ 216 w 216"/>
                <a:gd name="T11" fmla="*/ 115 h 216"/>
                <a:gd name="T12" fmla="*/ 210 w 216"/>
                <a:gd name="T13" fmla="*/ 149 h 216"/>
                <a:gd name="T14" fmla="*/ 193 w 216"/>
                <a:gd name="T15" fmla="*/ 178 h 216"/>
                <a:gd name="T16" fmla="*/ 167 w 216"/>
                <a:gd name="T17" fmla="*/ 201 h 216"/>
                <a:gd name="T18" fmla="*/ 135 w 216"/>
                <a:gd name="T19" fmla="*/ 213 h 216"/>
                <a:gd name="T20" fmla="*/ 100 w 216"/>
                <a:gd name="T21" fmla="*/ 216 h 216"/>
                <a:gd name="T22" fmla="*/ 66 w 216"/>
                <a:gd name="T23" fmla="*/ 210 h 216"/>
                <a:gd name="T24" fmla="*/ 37 w 216"/>
                <a:gd name="T25" fmla="*/ 193 h 216"/>
                <a:gd name="T26" fmla="*/ 14 w 216"/>
                <a:gd name="T27" fmla="*/ 167 h 216"/>
                <a:gd name="T28" fmla="*/ 2 w 216"/>
                <a:gd name="T29" fmla="*/ 135 h 216"/>
                <a:gd name="T30" fmla="*/ 0 w 216"/>
                <a:gd name="T31" fmla="*/ 100 h 216"/>
                <a:gd name="T32" fmla="*/ 8 w 216"/>
                <a:gd name="T33" fmla="*/ 66 h 216"/>
                <a:gd name="T34" fmla="*/ 25 w 216"/>
                <a:gd name="T35" fmla="*/ 37 h 216"/>
                <a:gd name="T36" fmla="*/ 51 w 216"/>
                <a:gd name="T37" fmla="*/ 14 h 216"/>
                <a:gd name="T38" fmla="*/ 80 w 216"/>
                <a:gd name="T39" fmla="*/ 2 h 216"/>
                <a:gd name="T40" fmla="*/ 115 w 216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6">
                  <a:moveTo>
                    <a:pt x="115" y="0"/>
                  </a:moveTo>
                  <a:lnTo>
                    <a:pt x="149" y="5"/>
                  </a:lnTo>
                  <a:lnTo>
                    <a:pt x="178" y="25"/>
                  </a:lnTo>
                  <a:lnTo>
                    <a:pt x="201" y="51"/>
                  </a:lnTo>
                  <a:lnTo>
                    <a:pt x="213" y="80"/>
                  </a:lnTo>
                  <a:lnTo>
                    <a:pt x="216" y="115"/>
                  </a:lnTo>
                  <a:lnTo>
                    <a:pt x="210" y="149"/>
                  </a:lnTo>
                  <a:lnTo>
                    <a:pt x="193" y="178"/>
                  </a:lnTo>
                  <a:lnTo>
                    <a:pt x="167" y="201"/>
                  </a:lnTo>
                  <a:lnTo>
                    <a:pt x="135" y="213"/>
                  </a:lnTo>
                  <a:lnTo>
                    <a:pt x="100" y="216"/>
                  </a:lnTo>
                  <a:lnTo>
                    <a:pt x="66" y="210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2" y="135"/>
                  </a:lnTo>
                  <a:lnTo>
                    <a:pt x="0" y="100"/>
                  </a:lnTo>
                  <a:lnTo>
                    <a:pt x="8" y="66"/>
                  </a:lnTo>
                  <a:lnTo>
                    <a:pt x="25" y="37"/>
                  </a:lnTo>
                  <a:lnTo>
                    <a:pt x="51" y="14"/>
                  </a:lnTo>
                  <a:lnTo>
                    <a:pt x="80" y="2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5" name="Freeform 264">
              <a:extLst>
                <a:ext uri="{FF2B5EF4-FFF2-40B4-BE49-F238E27FC236}">
                  <a16:creationId xmlns:a16="http://schemas.microsoft.com/office/drawing/2014/main" id="{75A048D8-625A-4C03-B065-49F4FBB4A83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744278" y="6131771"/>
              <a:ext cx="175213" cy="172813"/>
            </a:xfrm>
            <a:custGeom>
              <a:avLst/>
              <a:gdLst>
                <a:gd name="T0" fmla="*/ 115 w 219"/>
                <a:gd name="T1" fmla="*/ 0 h 216"/>
                <a:gd name="T2" fmla="*/ 150 w 219"/>
                <a:gd name="T3" fmla="*/ 5 h 216"/>
                <a:gd name="T4" fmla="*/ 182 w 219"/>
                <a:gd name="T5" fmla="*/ 23 h 216"/>
                <a:gd name="T6" fmla="*/ 202 w 219"/>
                <a:gd name="T7" fmla="*/ 49 h 216"/>
                <a:gd name="T8" fmla="*/ 216 w 219"/>
                <a:gd name="T9" fmla="*/ 80 h 216"/>
                <a:gd name="T10" fmla="*/ 219 w 219"/>
                <a:gd name="T11" fmla="*/ 115 h 216"/>
                <a:gd name="T12" fmla="*/ 211 w 219"/>
                <a:gd name="T13" fmla="*/ 149 h 216"/>
                <a:gd name="T14" fmla="*/ 193 w 219"/>
                <a:gd name="T15" fmla="*/ 178 h 216"/>
                <a:gd name="T16" fmla="*/ 167 w 219"/>
                <a:gd name="T17" fmla="*/ 201 h 216"/>
                <a:gd name="T18" fmla="*/ 136 w 219"/>
                <a:gd name="T19" fmla="*/ 213 h 216"/>
                <a:gd name="T20" fmla="*/ 104 w 219"/>
                <a:gd name="T21" fmla="*/ 216 h 216"/>
                <a:gd name="T22" fmla="*/ 69 w 219"/>
                <a:gd name="T23" fmla="*/ 210 h 216"/>
                <a:gd name="T24" fmla="*/ 38 w 219"/>
                <a:gd name="T25" fmla="*/ 190 h 216"/>
                <a:gd name="T26" fmla="*/ 17 w 219"/>
                <a:gd name="T27" fmla="*/ 164 h 216"/>
                <a:gd name="T28" fmla="*/ 3 w 219"/>
                <a:gd name="T29" fmla="*/ 135 h 216"/>
                <a:gd name="T30" fmla="*/ 0 w 219"/>
                <a:gd name="T31" fmla="*/ 100 h 216"/>
                <a:gd name="T32" fmla="*/ 9 w 219"/>
                <a:gd name="T33" fmla="*/ 66 h 216"/>
                <a:gd name="T34" fmla="*/ 26 w 219"/>
                <a:gd name="T35" fmla="*/ 37 h 216"/>
                <a:gd name="T36" fmla="*/ 52 w 219"/>
                <a:gd name="T37" fmla="*/ 14 h 216"/>
                <a:gd name="T38" fmla="*/ 84 w 219"/>
                <a:gd name="T39" fmla="*/ 2 h 216"/>
                <a:gd name="T40" fmla="*/ 115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5" y="0"/>
                  </a:moveTo>
                  <a:lnTo>
                    <a:pt x="150" y="5"/>
                  </a:lnTo>
                  <a:lnTo>
                    <a:pt x="182" y="23"/>
                  </a:lnTo>
                  <a:lnTo>
                    <a:pt x="202" y="49"/>
                  </a:lnTo>
                  <a:lnTo>
                    <a:pt x="216" y="80"/>
                  </a:lnTo>
                  <a:lnTo>
                    <a:pt x="219" y="115"/>
                  </a:lnTo>
                  <a:lnTo>
                    <a:pt x="211" y="149"/>
                  </a:lnTo>
                  <a:lnTo>
                    <a:pt x="193" y="178"/>
                  </a:lnTo>
                  <a:lnTo>
                    <a:pt x="167" y="201"/>
                  </a:lnTo>
                  <a:lnTo>
                    <a:pt x="136" y="213"/>
                  </a:lnTo>
                  <a:lnTo>
                    <a:pt x="104" y="216"/>
                  </a:lnTo>
                  <a:lnTo>
                    <a:pt x="69" y="210"/>
                  </a:lnTo>
                  <a:lnTo>
                    <a:pt x="38" y="190"/>
                  </a:lnTo>
                  <a:lnTo>
                    <a:pt x="17" y="164"/>
                  </a:lnTo>
                  <a:lnTo>
                    <a:pt x="3" y="135"/>
                  </a:lnTo>
                  <a:lnTo>
                    <a:pt x="0" y="100"/>
                  </a:lnTo>
                  <a:lnTo>
                    <a:pt x="9" y="66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4" y="2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6" name="Freeform 265">
              <a:extLst>
                <a:ext uri="{FF2B5EF4-FFF2-40B4-BE49-F238E27FC236}">
                  <a16:creationId xmlns:a16="http://schemas.microsoft.com/office/drawing/2014/main" id="{ED9CDFC9-CAE1-4DB8-912B-497DC4F950F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520262" y="6115770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8 h 219"/>
                <a:gd name="T4" fmla="*/ 179 w 219"/>
                <a:gd name="T5" fmla="*/ 26 h 219"/>
                <a:gd name="T6" fmla="*/ 202 w 219"/>
                <a:gd name="T7" fmla="*/ 52 h 219"/>
                <a:gd name="T8" fmla="*/ 216 w 219"/>
                <a:gd name="T9" fmla="*/ 83 h 219"/>
                <a:gd name="T10" fmla="*/ 219 w 219"/>
                <a:gd name="T11" fmla="*/ 118 h 219"/>
                <a:gd name="T12" fmla="*/ 210 w 219"/>
                <a:gd name="T13" fmla="*/ 150 h 219"/>
                <a:gd name="T14" fmla="*/ 193 w 219"/>
                <a:gd name="T15" fmla="*/ 181 h 219"/>
                <a:gd name="T16" fmla="*/ 167 w 219"/>
                <a:gd name="T17" fmla="*/ 202 h 219"/>
                <a:gd name="T18" fmla="*/ 135 w 219"/>
                <a:gd name="T19" fmla="*/ 216 h 219"/>
                <a:gd name="T20" fmla="*/ 101 w 219"/>
                <a:gd name="T21" fmla="*/ 219 h 219"/>
                <a:gd name="T22" fmla="*/ 69 w 219"/>
                <a:gd name="T23" fmla="*/ 210 h 219"/>
                <a:gd name="T24" fmla="*/ 37 w 219"/>
                <a:gd name="T25" fmla="*/ 193 h 219"/>
                <a:gd name="T26" fmla="*/ 14 w 219"/>
                <a:gd name="T27" fmla="*/ 167 h 219"/>
                <a:gd name="T28" fmla="*/ 3 w 219"/>
                <a:gd name="T29" fmla="*/ 135 h 219"/>
                <a:gd name="T30" fmla="*/ 0 w 219"/>
                <a:gd name="T31" fmla="*/ 104 h 219"/>
                <a:gd name="T32" fmla="*/ 8 w 219"/>
                <a:gd name="T33" fmla="*/ 69 h 219"/>
                <a:gd name="T34" fmla="*/ 26 w 219"/>
                <a:gd name="T35" fmla="*/ 37 h 219"/>
                <a:gd name="T36" fmla="*/ 52 w 219"/>
                <a:gd name="T37" fmla="*/ 17 h 219"/>
                <a:gd name="T38" fmla="*/ 80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8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6" y="83"/>
                  </a:lnTo>
                  <a:lnTo>
                    <a:pt x="219" y="118"/>
                  </a:lnTo>
                  <a:lnTo>
                    <a:pt x="210" y="150"/>
                  </a:lnTo>
                  <a:lnTo>
                    <a:pt x="193" y="181"/>
                  </a:lnTo>
                  <a:lnTo>
                    <a:pt x="167" y="202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9" y="210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3" y="135"/>
                  </a:lnTo>
                  <a:lnTo>
                    <a:pt x="0" y="104"/>
                  </a:lnTo>
                  <a:lnTo>
                    <a:pt x="8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0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7" name="Freeform 266">
              <a:extLst>
                <a:ext uri="{FF2B5EF4-FFF2-40B4-BE49-F238E27FC236}">
                  <a16:creationId xmlns:a16="http://schemas.microsoft.com/office/drawing/2014/main" id="{F0F96C2C-5DCD-41EC-8668-5258DBD1908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298645" y="6083768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49 w 219"/>
                <a:gd name="T3" fmla="*/ 9 h 219"/>
                <a:gd name="T4" fmla="*/ 181 w 219"/>
                <a:gd name="T5" fmla="*/ 26 h 219"/>
                <a:gd name="T6" fmla="*/ 201 w 219"/>
                <a:gd name="T7" fmla="*/ 52 h 219"/>
                <a:gd name="T8" fmla="*/ 216 w 219"/>
                <a:gd name="T9" fmla="*/ 84 h 219"/>
                <a:gd name="T10" fmla="*/ 219 w 219"/>
                <a:gd name="T11" fmla="*/ 118 h 219"/>
                <a:gd name="T12" fmla="*/ 210 w 219"/>
                <a:gd name="T13" fmla="*/ 150 h 219"/>
                <a:gd name="T14" fmla="*/ 193 w 219"/>
                <a:gd name="T15" fmla="*/ 182 h 219"/>
                <a:gd name="T16" fmla="*/ 167 w 219"/>
                <a:gd name="T17" fmla="*/ 202 h 219"/>
                <a:gd name="T18" fmla="*/ 135 w 219"/>
                <a:gd name="T19" fmla="*/ 216 h 219"/>
                <a:gd name="T20" fmla="*/ 103 w 219"/>
                <a:gd name="T21" fmla="*/ 219 h 219"/>
                <a:gd name="T22" fmla="*/ 69 w 219"/>
                <a:gd name="T23" fmla="*/ 211 h 219"/>
                <a:gd name="T24" fmla="*/ 37 w 219"/>
                <a:gd name="T25" fmla="*/ 193 h 219"/>
                <a:gd name="T26" fmla="*/ 17 w 219"/>
                <a:gd name="T27" fmla="*/ 167 h 219"/>
                <a:gd name="T28" fmla="*/ 2 w 219"/>
                <a:gd name="T29" fmla="*/ 139 h 219"/>
                <a:gd name="T30" fmla="*/ 0 w 219"/>
                <a:gd name="T31" fmla="*/ 104 h 219"/>
                <a:gd name="T32" fmla="*/ 8 w 219"/>
                <a:gd name="T33" fmla="*/ 69 h 219"/>
                <a:gd name="T34" fmla="*/ 25 w 219"/>
                <a:gd name="T35" fmla="*/ 41 h 219"/>
                <a:gd name="T36" fmla="*/ 51 w 219"/>
                <a:gd name="T37" fmla="*/ 17 h 219"/>
                <a:gd name="T38" fmla="*/ 83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49" y="9"/>
                  </a:lnTo>
                  <a:lnTo>
                    <a:pt x="181" y="26"/>
                  </a:lnTo>
                  <a:lnTo>
                    <a:pt x="201" y="52"/>
                  </a:lnTo>
                  <a:lnTo>
                    <a:pt x="216" y="84"/>
                  </a:lnTo>
                  <a:lnTo>
                    <a:pt x="219" y="118"/>
                  </a:lnTo>
                  <a:lnTo>
                    <a:pt x="210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5" y="216"/>
                  </a:lnTo>
                  <a:lnTo>
                    <a:pt x="103" y="219"/>
                  </a:lnTo>
                  <a:lnTo>
                    <a:pt x="69" y="211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2" y="139"/>
                  </a:lnTo>
                  <a:lnTo>
                    <a:pt x="0" y="104"/>
                  </a:lnTo>
                  <a:lnTo>
                    <a:pt x="8" y="69"/>
                  </a:lnTo>
                  <a:lnTo>
                    <a:pt x="25" y="41"/>
                  </a:lnTo>
                  <a:lnTo>
                    <a:pt x="51" y="17"/>
                  </a:lnTo>
                  <a:lnTo>
                    <a:pt x="83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8" name="Freeform 267">
              <a:extLst>
                <a:ext uri="{FF2B5EF4-FFF2-40B4-BE49-F238E27FC236}">
                  <a16:creationId xmlns:a16="http://schemas.microsoft.com/office/drawing/2014/main" id="{2F93D709-079D-4BB5-BD00-754DABA1F4D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865014" y="5970959"/>
              <a:ext cx="176013" cy="175213"/>
            </a:xfrm>
            <a:custGeom>
              <a:avLst/>
              <a:gdLst>
                <a:gd name="T0" fmla="*/ 116 w 220"/>
                <a:gd name="T1" fmla="*/ 0 h 219"/>
                <a:gd name="T2" fmla="*/ 150 w 220"/>
                <a:gd name="T3" fmla="*/ 9 h 219"/>
                <a:gd name="T4" fmla="*/ 179 w 220"/>
                <a:gd name="T5" fmla="*/ 26 h 219"/>
                <a:gd name="T6" fmla="*/ 202 w 220"/>
                <a:gd name="T7" fmla="*/ 52 h 219"/>
                <a:gd name="T8" fmla="*/ 217 w 220"/>
                <a:gd name="T9" fmla="*/ 84 h 219"/>
                <a:gd name="T10" fmla="*/ 220 w 220"/>
                <a:gd name="T11" fmla="*/ 119 h 219"/>
                <a:gd name="T12" fmla="*/ 211 w 220"/>
                <a:gd name="T13" fmla="*/ 150 h 219"/>
                <a:gd name="T14" fmla="*/ 194 w 220"/>
                <a:gd name="T15" fmla="*/ 182 h 219"/>
                <a:gd name="T16" fmla="*/ 168 w 220"/>
                <a:gd name="T17" fmla="*/ 205 h 219"/>
                <a:gd name="T18" fmla="*/ 136 w 220"/>
                <a:gd name="T19" fmla="*/ 217 h 219"/>
                <a:gd name="T20" fmla="*/ 104 w 220"/>
                <a:gd name="T21" fmla="*/ 219 h 219"/>
                <a:gd name="T22" fmla="*/ 70 w 220"/>
                <a:gd name="T23" fmla="*/ 214 h 219"/>
                <a:gd name="T24" fmla="*/ 38 w 220"/>
                <a:gd name="T25" fmla="*/ 194 h 219"/>
                <a:gd name="T26" fmla="*/ 18 w 220"/>
                <a:gd name="T27" fmla="*/ 168 h 219"/>
                <a:gd name="T28" fmla="*/ 3 w 220"/>
                <a:gd name="T29" fmla="*/ 139 h 219"/>
                <a:gd name="T30" fmla="*/ 0 w 220"/>
                <a:gd name="T31" fmla="*/ 104 h 219"/>
                <a:gd name="T32" fmla="*/ 9 w 220"/>
                <a:gd name="T33" fmla="*/ 70 h 219"/>
                <a:gd name="T34" fmla="*/ 26 w 220"/>
                <a:gd name="T35" fmla="*/ 41 h 219"/>
                <a:gd name="T36" fmla="*/ 52 w 220"/>
                <a:gd name="T37" fmla="*/ 18 h 219"/>
                <a:gd name="T38" fmla="*/ 84 w 220"/>
                <a:gd name="T39" fmla="*/ 3 h 219"/>
                <a:gd name="T40" fmla="*/ 116 w 220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0" h="219">
                  <a:moveTo>
                    <a:pt x="116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7" y="84"/>
                  </a:lnTo>
                  <a:lnTo>
                    <a:pt x="220" y="119"/>
                  </a:lnTo>
                  <a:lnTo>
                    <a:pt x="211" y="150"/>
                  </a:lnTo>
                  <a:lnTo>
                    <a:pt x="194" y="182"/>
                  </a:lnTo>
                  <a:lnTo>
                    <a:pt x="168" y="205"/>
                  </a:lnTo>
                  <a:lnTo>
                    <a:pt x="136" y="217"/>
                  </a:lnTo>
                  <a:lnTo>
                    <a:pt x="104" y="219"/>
                  </a:lnTo>
                  <a:lnTo>
                    <a:pt x="70" y="214"/>
                  </a:lnTo>
                  <a:lnTo>
                    <a:pt x="38" y="194"/>
                  </a:lnTo>
                  <a:lnTo>
                    <a:pt x="18" y="168"/>
                  </a:lnTo>
                  <a:lnTo>
                    <a:pt x="3" y="139"/>
                  </a:lnTo>
                  <a:lnTo>
                    <a:pt x="0" y="104"/>
                  </a:lnTo>
                  <a:lnTo>
                    <a:pt x="9" y="70"/>
                  </a:lnTo>
                  <a:lnTo>
                    <a:pt x="26" y="41"/>
                  </a:lnTo>
                  <a:lnTo>
                    <a:pt x="52" y="18"/>
                  </a:lnTo>
                  <a:lnTo>
                    <a:pt x="84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9" name="Freeform 268">
              <a:extLst>
                <a:ext uri="{FF2B5EF4-FFF2-40B4-BE49-F238E27FC236}">
                  <a16:creationId xmlns:a16="http://schemas.microsoft.com/office/drawing/2014/main" id="{89C296D3-2250-4A74-BDD7-A0505F21B48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655398" y="5890154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79 w 219"/>
                <a:gd name="T5" fmla="*/ 26 h 219"/>
                <a:gd name="T6" fmla="*/ 202 w 219"/>
                <a:gd name="T7" fmla="*/ 52 h 219"/>
                <a:gd name="T8" fmla="*/ 213 w 219"/>
                <a:gd name="T9" fmla="*/ 84 h 219"/>
                <a:gd name="T10" fmla="*/ 219 w 219"/>
                <a:gd name="T11" fmla="*/ 118 h 219"/>
                <a:gd name="T12" fmla="*/ 210 w 219"/>
                <a:gd name="T13" fmla="*/ 150 h 219"/>
                <a:gd name="T14" fmla="*/ 193 w 219"/>
                <a:gd name="T15" fmla="*/ 182 h 219"/>
                <a:gd name="T16" fmla="*/ 167 w 219"/>
                <a:gd name="T17" fmla="*/ 202 h 219"/>
                <a:gd name="T18" fmla="*/ 135 w 219"/>
                <a:gd name="T19" fmla="*/ 216 h 219"/>
                <a:gd name="T20" fmla="*/ 101 w 219"/>
                <a:gd name="T21" fmla="*/ 219 h 219"/>
                <a:gd name="T22" fmla="*/ 66 w 219"/>
                <a:gd name="T23" fmla="*/ 211 h 219"/>
                <a:gd name="T24" fmla="*/ 37 w 219"/>
                <a:gd name="T25" fmla="*/ 193 h 219"/>
                <a:gd name="T26" fmla="*/ 14 w 219"/>
                <a:gd name="T27" fmla="*/ 167 h 219"/>
                <a:gd name="T28" fmla="*/ 3 w 219"/>
                <a:gd name="T29" fmla="*/ 136 h 219"/>
                <a:gd name="T30" fmla="*/ 0 w 219"/>
                <a:gd name="T31" fmla="*/ 104 h 219"/>
                <a:gd name="T32" fmla="*/ 8 w 219"/>
                <a:gd name="T33" fmla="*/ 69 h 219"/>
                <a:gd name="T34" fmla="*/ 26 w 219"/>
                <a:gd name="T35" fmla="*/ 41 h 219"/>
                <a:gd name="T36" fmla="*/ 52 w 219"/>
                <a:gd name="T37" fmla="*/ 18 h 219"/>
                <a:gd name="T38" fmla="*/ 81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3" y="84"/>
                  </a:lnTo>
                  <a:lnTo>
                    <a:pt x="219" y="118"/>
                  </a:lnTo>
                  <a:lnTo>
                    <a:pt x="210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6" y="211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8" y="69"/>
                  </a:lnTo>
                  <a:lnTo>
                    <a:pt x="26" y="41"/>
                  </a:lnTo>
                  <a:lnTo>
                    <a:pt x="52" y="18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0" name="Freeform 269">
              <a:extLst>
                <a:ext uri="{FF2B5EF4-FFF2-40B4-BE49-F238E27FC236}">
                  <a16:creationId xmlns:a16="http://schemas.microsoft.com/office/drawing/2014/main" id="{1A691C5F-92A4-4891-A587-0C729BF9670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454584" y="5793346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49 w 216"/>
                <a:gd name="T3" fmla="*/ 6 h 219"/>
                <a:gd name="T4" fmla="*/ 178 w 216"/>
                <a:gd name="T5" fmla="*/ 26 h 219"/>
                <a:gd name="T6" fmla="*/ 201 w 216"/>
                <a:gd name="T7" fmla="*/ 52 h 219"/>
                <a:gd name="T8" fmla="*/ 213 w 216"/>
                <a:gd name="T9" fmla="*/ 81 h 219"/>
                <a:gd name="T10" fmla="*/ 216 w 216"/>
                <a:gd name="T11" fmla="*/ 116 h 219"/>
                <a:gd name="T12" fmla="*/ 210 w 216"/>
                <a:gd name="T13" fmla="*/ 150 h 219"/>
                <a:gd name="T14" fmla="*/ 190 w 216"/>
                <a:gd name="T15" fmla="*/ 179 h 219"/>
                <a:gd name="T16" fmla="*/ 164 w 216"/>
                <a:gd name="T17" fmla="*/ 202 h 219"/>
                <a:gd name="T18" fmla="*/ 135 w 216"/>
                <a:gd name="T19" fmla="*/ 214 h 219"/>
                <a:gd name="T20" fmla="*/ 100 w 216"/>
                <a:gd name="T21" fmla="*/ 219 h 219"/>
                <a:gd name="T22" fmla="*/ 66 w 216"/>
                <a:gd name="T23" fmla="*/ 211 h 219"/>
                <a:gd name="T24" fmla="*/ 37 w 216"/>
                <a:gd name="T25" fmla="*/ 191 h 219"/>
                <a:gd name="T26" fmla="*/ 14 w 216"/>
                <a:gd name="T27" fmla="*/ 167 h 219"/>
                <a:gd name="T28" fmla="*/ 2 w 216"/>
                <a:gd name="T29" fmla="*/ 136 h 219"/>
                <a:gd name="T30" fmla="*/ 0 w 216"/>
                <a:gd name="T31" fmla="*/ 101 h 219"/>
                <a:gd name="T32" fmla="*/ 5 w 216"/>
                <a:gd name="T33" fmla="*/ 67 h 219"/>
                <a:gd name="T34" fmla="*/ 25 w 216"/>
                <a:gd name="T35" fmla="*/ 38 h 219"/>
                <a:gd name="T36" fmla="*/ 51 w 216"/>
                <a:gd name="T37" fmla="*/ 15 h 219"/>
                <a:gd name="T38" fmla="*/ 80 w 216"/>
                <a:gd name="T39" fmla="*/ 3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49" y="6"/>
                  </a:lnTo>
                  <a:lnTo>
                    <a:pt x="178" y="26"/>
                  </a:lnTo>
                  <a:lnTo>
                    <a:pt x="201" y="52"/>
                  </a:lnTo>
                  <a:lnTo>
                    <a:pt x="213" y="81"/>
                  </a:lnTo>
                  <a:lnTo>
                    <a:pt x="216" y="116"/>
                  </a:lnTo>
                  <a:lnTo>
                    <a:pt x="210" y="150"/>
                  </a:lnTo>
                  <a:lnTo>
                    <a:pt x="190" y="179"/>
                  </a:lnTo>
                  <a:lnTo>
                    <a:pt x="164" y="202"/>
                  </a:lnTo>
                  <a:lnTo>
                    <a:pt x="135" y="214"/>
                  </a:lnTo>
                  <a:lnTo>
                    <a:pt x="100" y="219"/>
                  </a:lnTo>
                  <a:lnTo>
                    <a:pt x="66" y="211"/>
                  </a:lnTo>
                  <a:lnTo>
                    <a:pt x="37" y="191"/>
                  </a:lnTo>
                  <a:lnTo>
                    <a:pt x="14" y="167"/>
                  </a:lnTo>
                  <a:lnTo>
                    <a:pt x="2" y="136"/>
                  </a:lnTo>
                  <a:lnTo>
                    <a:pt x="0" y="101"/>
                  </a:lnTo>
                  <a:lnTo>
                    <a:pt x="5" y="67"/>
                  </a:lnTo>
                  <a:lnTo>
                    <a:pt x="25" y="38"/>
                  </a:lnTo>
                  <a:lnTo>
                    <a:pt x="51" y="15"/>
                  </a:lnTo>
                  <a:lnTo>
                    <a:pt x="80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1" name="Freeform 270">
              <a:extLst>
                <a:ext uri="{FF2B5EF4-FFF2-40B4-BE49-F238E27FC236}">
                  <a16:creationId xmlns:a16="http://schemas.microsoft.com/office/drawing/2014/main" id="{0FB4618C-5B3D-449F-AE49-0BFD3832291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258570" y="5684539"/>
              <a:ext cx="175213" cy="172813"/>
            </a:xfrm>
            <a:custGeom>
              <a:avLst/>
              <a:gdLst>
                <a:gd name="T0" fmla="*/ 115 w 219"/>
                <a:gd name="T1" fmla="*/ 0 h 216"/>
                <a:gd name="T2" fmla="*/ 150 w 219"/>
                <a:gd name="T3" fmla="*/ 5 h 216"/>
                <a:gd name="T4" fmla="*/ 181 w 219"/>
                <a:gd name="T5" fmla="*/ 23 h 216"/>
                <a:gd name="T6" fmla="*/ 201 w 219"/>
                <a:gd name="T7" fmla="*/ 49 h 216"/>
                <a:gd name="T8" fmla="*/ 216 w 219"/>
                <a:gd name="T9" fmla="*/ 80 h 216"/>
                <a:gd name="T10" fmla="*/ 219 w 219"/>
                <a:gd name="T11" fmla="*/ 115 h 216"/>
                <a:gd name="T12" fmla="*/ 210 w 219"/>
                <a:gd name="T13" fmla="*/ 150 h 216"/>
                <a:gd name="T14" fmla="*/ 193 w 219"/>
                <a:gd name="T15" fmla="*/ 178 h 216"/>
                <a:gd name="T16" fmla="*/ 167 w 219"/>
                <a:gd name="T17" fmla="*/ 201 h 216"/>
                <a:gd name="T18" fmla="*/ 135 w 219"/>
                <a:gd name="T19" fmla="*/ 213 h 216"/>
                <a:gd name="T20" fmla="*/ 103 w 219"/>
                <a:gd name="T21" fmla="*/ 216 h 216"/>
                <a:gd name="T22" fmla="*/ 69 w 219"/>
                <a:gd name="T23" fmla="*/ 210 h 216"/>
                <a:gd name="T24" fmla="*/ 40 w 219"/>
                <a:gd name="T25" fmla="*/ 190 h 216"/>
                <a:gd name="T26" fmla="*/ 17 w 219"/>
                <a:gd name="T27" fmla="*/ 164 h 216"/>
                <a:gd name="T28" fmla="*/ 3 w 219"/>
                <a:gd name="T29" fmla="*/ 135 h 216"/>
                <a:gd name="T30" fmla="*/ 0 w 219"/>
                <a:gd name="T31" fmla="*/ 101 h 216"/>
                <a:gd name="T32" fmla="*/ 8 w 219"/>
                <a:gd name="T33" fmla="*/ 66 h 216"/>
                <a:gd name="T34" fmla="*/ 26 w 219"/>
                <a:gd name="T35" fmla="*/ 37 h 216"/>
                <a:gd name="T36" fmla="*/ 52 w 219"/>
                <a:gd name="T37" fmla="*/ 14 h 216"/>
                <a:gd name="T38" fmla="*/ 83 w 219"/>
                <a:gd name="T39" fmla="*/ 3 h 216"/>
                <a:gd name="T40" fmla="*/ 115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5" y="0"/>
                  </a:moveTo>
                  <a:lnTo>
                    <a:pt x="150" y="5"/>
                  </a:lnTo>
                  <a:lnTo>
                    <a:pt x="181" y="23"/>
                  </a:lnTo>
                  <a:lnTo>
                    <a:pt x="201" y="49"/>
                  </a:lnTo>
                  <a:lnTo>
                    <a:pt x="216" y="80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78"/>
                  </a:lnTo>
                  <a:lnTo>
                    <a:pt x="167" y="201"/>
                  </a:lnTo>
                  <a:lnTo>
                    <a:pt x="135" y="213"/>
                  </a:lnTo>
                  <a:lnTo>
                    <a:pt x="103" y="216"/>
                  </a:lnTo>
                  <a:lnTo>
                    <a:pt x="69" y="210"/>
                  </a:lnTo>
                  <a:lnTo>
                    <a:pt x="40" y="190"/>
                  </a:lnTo>
                  <a:lnTo>
                    <a:pt x="17" y="164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8" y="66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3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2" name="Freeform 271">
              <a:extLst>
                <a:ext uri="{FF2B5EF4-FFF2-40B4-BE49-F238E27FC236}">
                  <a16:creationId xmlns:a16="http://schemas.microsoft.com/office/drawing/2014/main" id="{12A93016-E0C8-426E-8878-2E73E4D0D25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072156" y="5560529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82 w 219"/>
                <a:gd name="T5" fmla="*/ 26 h 219"/>
                <a:gd name="T6" fmla="*/ 202 w 219"/>
                <a:gd name="T7" fmla="*/ 52 h 219"/>
                <a:gd name="T8" fmla="*/ 216 w 219"/>
                <a:gd name="T9" fmla="*/ 84 h 219"/>
                <a:gd name="T10" fmla="*/ 219 w 219"/>
                <a:gd name="T11" fmla="*/ 119 h 219"/>
                <a:gd name="T12" fmla="*/ 211 w 219"/>
                <a:gd name="T13" fmla="*/ 153 h 219"/>
                <a:gd name="T14" fmla="*/ 193 w 219"/>
                <a:gd name="T15" fmla="*/ 182 h 219"/>
                <a:gd name="T16" fmla="*/ 167 w 219"/>
                <a:gd name="T17" fmla="*/ 205 h 219"/>
                <a:gd name="T18" fmla="*/ 136 w 219"/>
                <a:gd name="T19" fmla="*/ 217 h 219"/>
                <a:gd name="T20" fmla="*/ 101 w 219"/>
                <a:gd name="T21" fmla="*/ 219 h 219"/>
                <a:gd name="T22" fmla="*/ 69 w 219"/>
                <a:gd name="T23" fmla="*/ 214 h 219"/>
                <a:gd name="T24" fmla="*/ 38 w 219"/>
                <a:gd name="T25" fmla="*/ 194 h 219"/>
                <a:gd name="T26" fmla="*/ 17 w 219"/>
                <a:gd name="T27" fmla="*/ 168 h 219"/>
                <a:gd name="T28" fmla="*/ 3 w 219"/>
                <a:gd name="T29" fmla="*/ 139 h 219"/>
                <a:gd name="T30" fmla="*/ 0 w 219"/>
                <a:gd name="T31" fmla="*/ 104 h 219"/>
                <a:gd name="T32" fmla="*/ 9 w 219"/>
                <a:gd name="T33" fmla="*/ 70 h 219"/>
                <a:gd name="T34" fmla="*/ 26 w 219"/>
                <a:gd name="T35" fmla="*/ 41 h 219"/>
                <a:gd name="T36" fmla="*/ 52 w 219"/>
                <a:gd name="T37" fmla="*/ 18 h 219"/>
                <a:gd name="T38" fmla="*/ 84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4"/>
                  </a:lnTo>
                  <a:lnTo>
                    <a:pt x="219" y="119"/>
                  </a:lnTo>
                  <a:lnTo>
                    <a:pt x="211" y="153"/>
                  </a:lnTo>
                  <a:lnTo>
                    <a:pt x="193" y="182"/>
                  </a:lnTo>
                  <a:lnTo>
                    <a:pt x="167" y="205"/>
                  </a:lnTo>
                  <a:lnTo>
                    <a:pt x="136" y="217"/>
                  </a:lnTo>
                  <a:lnTo>
                    <a:pt x="101" y="219"/>
                  </a:lnTo>
                  <a:lnTo>
                    <a:pt x="69" y="214"/>
                  </a:lnTo>
                  <a:lnTo>
                    <a:pt x="38" y="194"/>
                  </a:lnTo>
                  <a:lnTo>
                    <a:pt x="17" y="168"/>
                  </a:lnTo>
                  <a:lnTo>
                    <a:pt x="3" y="139"/>
                  </a:lnTo>
                  <a:lnTo>
                    <a:pt x="0" y="104"/>
                  </a:lnTo>
                  <a:lnTo>
                    <a:pt x="9" y="70"/>
                  </a:lnTo>
                  <a:lnTo>
                    <a:pt x="26" y="41"/>
                  </a:lnTo>
                  <a:lnTo>
                    <a:pt x="52" y="18"/>
                  </a:lnTo>
                  <a:lnTo>
                    <a:pt x="84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3" name="Freeform 272">
              <a:extLst>
                <a:ext uri="{FF2B5EF4-FFF2-40B4-BE49-F238E27FC236}">
                  <a16:creationId xmlns:a16="http://schemas.microsoft.com/office/drawing/2014/main" id="{ADA3A9E4-A4C4-481A-8D42-64A83B78A15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896944" y="5422119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50 w 216"/>
                <a:gd name="T3" fmla="*/ 9 h 219"/>
                <a:gd name="T4" fmla="*/ 179 w 216"/>
                <a:gd name="T5" fmla="*/ 26 h 219"/>
                <a:gd name="T6" fmla="*/ 202 w 216"/>
                <a:gd name="T7" fmla="*/ 52 h 219"/>
                <a:gd name="T8" fmla="*/ 213 w 216"/>
                <a:gd name="T9" fmla="*/ 84 h 219"/>
                <a:gd name="T10" fmla="*/ 216 w 216"/>
                <a:gd name="T11" fmla="*/ 119 h 219"/>
                <a:gd name="T12" fmla="*/ 211 w 216"/>
                <a:gd name="T13" fmla="*/ 150 h 219"/>
                <a:gd name="T14" fmla="*/ 190 w 216"/>
                <a:gd name="T15" fmla="*/ 182 h 219"/>
                <a:gd name="T16" fmla="*/ 167 w 216"/>
                <a:gd name="T17" fmla="*/ 202 h 219"/>
                <a:gd name="T18" fmla="*/ 136 w 216"/>
                <a:gd name="T19" fmla="*/ 217 h 219"/>
                <a:gd name="T20" fmla="*/ 101 w 216"/>
                <a:gd name="T21" fmla="*/ 219 h 219"/>
                <a:gd name="T22" fmla="*/ 66 w 216"/>
                <a:gd name="T23" fmla="*/ 211 h 219"/>
                <a:gd name="T24" fmla="*/ 38 w 216"/>
                <a:gd name="T25" fmla="*/ 193 h 219"/>
                <a:gd name="T26" fmla="*/ 15 w 216"/>
                <a:gd name="T27" fmla="*/ 168 h 219"/>
                <a:gd name="T28" fmla="*/ 3 w 216"/>
                <a:gd name="T29" fmla="*/ 136 h 219"/>
                <a:gd name="T30" fmla="*/ 0 w 216"/>
                <a:gd name="T31" fmla="*/ 104 h 219"/>
                <a:gd name="T32" fmla="*/ 6 w 216"/>
                <a:gd name="T33" fmla="*/ 70 h 219"/>
                <a:gd name="T34" fmla="*/ 26 w 216"/>
                <a:gd name="T35" fmla="*/ 38 h 219"/>
                <a:gd name="T36" fmla="*/ 52 w 216"/>
                <a:gd name="T37" fmla="*/ 18 h 219"/>
                <a:gd name="T38" fmla="*/ 81 w 216"/>
                <a:gd name="T39" fmla="*/ 3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3" y="84"/>
                  </a:lnTo>
                  <a:lnTo>
                    <a:pt x="216" y="119"/>
                  </a:lnTo>
                  <a:lnTo>
                    <a:pt x="211" y="150"/>
                  </a:lnTo>
                  <a:lnTo>
                    <a:pt x="190" y="182"/>
                  </a:lnTo>
                  <a:lnTo>
                    <a:pt x="167" y="202"/>
                  </a:lnTo>
                  <a:lnTo>
                    <a:pt x="136" y="217"/>
                  </a:lnTo>
                  <a:lnTo>
                    <a:pt x="101" y="219"/>
                  </a:lnTo>
                  <a:lnTo>
                    <a:pt x="66" y="211"/>
                  </a:lnTo>
                  <a:lnTo>
                    <a:pt x="38" y="193"/>
                  </a:lnTo>
                  <a:lnTo>
                    <a:pt x="15" y="168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6" y="70"/>
                  </a:lnTo>
                  <a:lnTo>
                    <a:pt x="26" y="38"/>
                  </a:lnTo>
                  <a:lnTo>
                    <a:pt x="52" y="18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4" name="Freeform 273">
              <a:extLst>
                <a:ext uri="{FF2B5EF4-FFF2-40B4-BE49-F238E27FC236}">
                  <a16:creationId xmlns:a16="http://schemas.microsoft.com/office/drawing/2014/main" id="{0ED770C5-BA5C-4FD0-A6C8-0E1AFA5256F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728131" y="5271708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8 h 219"/>
                <a:gd name="T4" fmla="*/ 178 w 219"/>
                <a:gd name="T5" fmla="*/ 26 h 219"/>
                <a:gd name="T6" fmla="*/ 202 w 219"/>
                <a:gd name="T7" fmla="*/ 52 h 219"/>
                <a:gd name="T8" fmla="*/ 213 w 219"/>
                <a:gd name="T9" fmla="*/ 83 h 219"/>
                <a:gd name="T10" fmla="*/ 219 w 219"/>
                <a:gd name="T11" fmla="*/ 118 h 219"/>
                <a:gd name="T12" fmla="*/ 210 w 219"/>
                <a:gd name="T13" fmla="*/ 152 h 219"/>
                <a:gd name="T14" fmla="*/ 190 w 219"/>
                <a:gd name="T15" fmla="*/ 181 h 219"/>
                <a:gd name="T16" fmla="*/ 167 w 219"/>
                <a:gd name="T17" fmla="*/ 204 h 219"/>
                <a:gd name="T18" fmla="*/ 135 w 219"/>
                <a:gd name="T19" fmla="*/ 216 h 219"/>
                <a:gd name="T20" fmla="*/ 101 w 219"/>
                <a:gd name="T21" fmla="*/ 219 h 219"/>
                <a:gd name="T22" fmla="*/ 66 w 219"/>
                <a:gd name="T23" fmla="*/ 213 h 219"/>
                <a:gd name="T24" fmla="*/ 37 w 219"/>
                <a:gd name="T25" fmla="*/ 193 h 219"/>
                <a:gd name="T26" fmla="*/ 14 w 219"/>
                <a:gd name="T27" fmla="*/ 167 h 219"/>
                <a:gd name="T28" fmla="*/ 3 w 219"/>
                <a:gd name="T29" fmla="*/ 138 h 219"/>
                <a:gd name="T30" fmla="*/ 0 w 219"/>
                <a:gd name="T31" fmla="*/ 103 h 219"/>
                <a:gd name="T32" fmla="*/ 5 w 219"/>
                <a:gd name="T33" fmla="*/ 69 h 219"/>
                <a:gd name="T34" fmla="*/ 26 w 219"/>
                <a:gd name="T35" fmla="*/ 40 h 219"/>
                <a:gd name="T36" fmla="*/ 52 w 219"/>
                <a:gd name="T37" fmla="*/ 17 h 219"/>
                <a:gd name="T38" fmla="*/ 80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8"/>
                  </a:lnTo>
                  <a:lnTo>
                    <a:pt x="178" y="26"/>
                  </a:lnTo>
                  <a:lnTo>
                    <a:pt x="202" y="52"/>
                  </a:lnTo>
                  <a:lnTo>
                    <a:pt x="213" y="83"/>
                  </a:lnTo>
                  <a:lnTo>
                    <a:pt x="219" y="118"/>
                  </a:lnTo>
                  <a:lnTo>
                    <a:pt x="210" y="152"/>
                  </a:lnTo>
                  <a:lnTo>
                    <a:pt x="190" y="181"/>
                  </a:lnTo>
                  <a:lnTo>
                    <a:pt x="167" y="204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6" y="213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3" y="138"/>
                  </a:lnTo>
                  <a:lnTo>
                    <a:pt x="0" y="103"/>
                  </a:lnTo>
                  <a:lnTo>
                    <a:pt x="5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0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5" name="Freeform 274">
              <a:extLst>
                <a:ext uri="{FF2B5EF4-FFF2-40B4-BE49-F238E27FC236}">
                  <a16:creationId xmlns:a16="http://schemas.microsoft.com/office/drawing/2014/main" id="{5C1706DE-5203-4DA9-A79F-4DE18A3E3DB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573720" y="5108496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79 w 219"/>
                <a:gd name="T5" fmla="*/ 26 h 219"/>
                <a:gd name="T6" fmla="*/ 202 w 219"/>
                <a:gd name="T7" fmla="*/ 52 h 219"/>
                <a:gd name="T8" fmla="*/ 213 w 219"/>
                <a:gd name="T9" fmla="*/ 81 h 219"/>
                <a:gd name="T10" fmla="*/ 219 w 219"/>
                <a:gd name="T11" fmla="*/ 116 h 219"/>
                <a:gd name="T12" fmla="*/ 210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5 w 219"/>
                <a:gd name="T19" fmla="*/ 216 h 219"/>
                <a:gd name="T20" fmla="*/ 101 w 219"/>
                <a:gd name="T21" fmla="*/ 219 h 219"/>
                <a:gd name="T22" fmla="*/ 66 w 219"/>
                <a:gd name="T23" fmla="*/ 211 h 219"/>
                <a:gd name="T24" fmla="*/ 37 w 219"/>
                <a:gd name="T25" fmla="*/ 191 h 219"/>
                <a:gd name="T26" fmla="*/ 14 w 219"/>
                <a:gd name="T27" fmla="*/ 167 h 219"/>
                <a:gd name="T28" fmla="*/ 3 w 219"/>
                <a:gd name="T29" fmla="*/ 136 h 219"/>
                <a:gd name="T30" fmla="*/ 0 w 219"/>
                <a:gd name="T31" fmla="*/ 101 h 219"/>
                <a:gd name="T32" fmla="*/ 6 w 219"/>
                <a:gd name="T33" fmla="*/ 67 h 219"/>
                <a:gd name="T34" fmla="*/ 26 w 219"/>
                <a:gd name="T35" fmla="*/ 38 h 219"/>
                <a:gd name="T36" fmla="*/ 52 w 219"/>
                <a:gd name="T37" fmla="*/ 15 h 219"/>
                <a:gd name="T38" fmla="*/ 81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3" y="81"/>
                  </a:lnTo>
                  <a:lnTo>
                    <a:pt x="219" y="116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6" y="211"/>
                  </a:lnTo>
                  <a:lnTo>
                    <a:pt x="37" y="191"/>
                  </a:lnTo>
                  <a:lnTo>
                    <a:pt x="14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6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6" name="Freeform 275">
              <a:extLst>
                <a:ext uri="{FF2B5EF4-FFF2-40B4-BE49-F238E27FC236}">
                  <a16:creationId xmlns:a16="http://schemas.microsoft.com/office/drawing/2014/main" id="{AD3CC80D-20E2-40AB-A80D-CA5D3F7D0CC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432909" y="4934884"/>
              <a:ext cx="175213" cy="176013"/>
            </a:xfrm>
            <a:custGeom>
              <a:avLst/>
              <a:gdLst>
                <a:gd name="T0" fmla="*/ 118 w 219"/>
                <a:gd name="T1" fmla="*/ 0 h 220"/>
                <a:gd name="T2" fmla="*/ 153 w 219"/>
                <a:gd name="T3" fmla="*/ 9 h 220"/>
                <a:gd name="T4" fmla="*/ 181 w 219"/>
                <a:gd name="T5" fmla="*/ 26 h 220"/>
                <a:gd name="T6" fmla="*/ 204 w 219"/>
                <a:gd name="T7" fmla="*/ 52 h 220"/>
                <a:gd name="T8" fmla="*/ 216 w 219"/>
                <a:gd name="T9" fmla="*/ 84 h 220"/>
                <a:gd name="T10" fmla="*/ 219 w 219"/>
                <a:gd name="T11" fmla="*/ 116 h 220"/>
                <a:gd name="T12" fmla="*/ 210 w 219"/>
                <a:gd name="T13" fmla="*/ 150 h 220"/>
                <a:gd name="T14" fmla="*/ 193 w 219"/>
                <a:gd name="T15" fmla="*/ 179 h 220"/>
                <a:gd name="T16" fmla="*/ 167 w 219"/>
                <a:gd name="T17" fmla="*/ 202 h 220"/>
                <a:gd name="T18" fmla="*/ 138 w 219"/>
                <a:gd name="T19" fmla="*/ 217 h 220"/>
                <a:gd name="T20" fmla="*/ 104 w 219"/>
                <a:gd name="T21" fmla="*/ 220 h 220"/>
                <a:gd name="T22" fmla="*/ 69 w 219"/>
                <a:gd name="T23" fmla="*/ 211 h 220"/>
                <a:gd name="T24" fmla="*/ 40 w 219"/>
                <a:gd name="T25" fmla="*/ 194 h 220"/>
                <a:gd name="T26" fmla="*/ 17 w 219"/>
                <a:gd name="T27" fmla="*/ 168 h 220"/>
                <a:gd name="T28" fmla="*/ 3 w 219"/>
                <a:gd name="T29" fmla="*/ 136 h 220"/>
                <a:gd name="T30" fmla="*/ 0 w 219"/>
                <a:gd name="T31" fmla="*/ 101 h 220"/>
                <a:gd name="T32" fmla="*/ 8 w 219"/>
                <a:gd name="T33" fmla="*/ 70 h 220"/>
                <a:gd name="T34" fmla="*/ 26 w 219"/>
                <a:gd name="T35" fmla="*/ 38 h 220"/>
                <a:gd name="T36" fmla="*/ 52 w 219"/>
                <a:gd name="T37" fmla="*/ 18 h 220"/>
                <a:gd name="T38" fmla="*/ 83 w 219"/>
                <a:gd name="T39" fmla="*/ 3 h 220"/>
                <a:gd name="T40" fmla="*/ 118 w 219"/>
                <a:gd name="T41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20">
                  <a:moveTo>
                    <a:pt x="118" y="0"/>
                  </a:moveTo>
                  <a:lnTo>
                    <a:pt x="153" y="9"/>
                  </a:lnTo>
                  <a:lnTo>
                    <a:pt x="181" y="26"/>
                  </a:lnTo>
                  <a:lnTo>
                    <a:pt x="204" y="52"/>
                  </a:lnTo>
                  <a:lnTo>
                    <a:pt x="216" y="84"/>
                  </a:lnTo>
                  <a:lnTo>
                    <a:pt x="219" y="116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8" y="217"/>
                  </a:lnTo>
                  <a:lnTo>
                    <a:pt x="104" y="220"/>
                  </a:lnTo>
                  <a:lnTo>
                    <a:pt x="69" y="211"/>
                  </a:lnTo>
                  <a:lnTo>
                    <a:pt x="40" y="194"/>
                  </a:lnTo>
                  <a:lnTo>
                    <a:pt x="17" y="168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8" y="70"/>
                  </a:lnTo>
                  <a:lnTo>
                    <a:pt x="26" y="38"/>
                  </a:lnTo>
                  <a:lnTo>
                    <a:pt x="52" y="18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7" name="Freeform 276">
              <a:extLst>
                <a:ext uri="{FF2B5EF4-FFF2-40B4-BE49-F238E27FC236}">
                  <a16:creationId xmlns:a16="http://schemas.microsoft.com/office/drawing/2014/main" id="{C92C48D8-77CF-4766-92C2-F0B8DB6AB42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304100" y="4753270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3 w 219"/>
                <a:gd name="T3" fmla="*/ 9 h 219"/>
                <a:gd name="T4" fmla="*/ 182 w 219"/>
                <a:gd name="T5" fmla="*/ 26 h 219"/>
                <a:gd name="T6" fmla="*/ 202 w 219"/>
                <a:gd name="T7" fmla="*/ 52 h 219"/>
                <a:gd name="T8" fmla="*/ 216 w 219"/>
                <a:gd name="T9" fmla="*/ 84 h 219"/>
                <a:gd name="T10" fmla="*/ 219 w 219"/>
                <a:gd name="T11" fmla="*/ 118 h 219"/>
                <a:gd name="T12" fmla="*/ 211 w 219"/>
                <a:gd name="T13" fmla="*/ 153 h 219"/>
                <a:gd name="T14" fmla="*/ 193 w 219"/>
                <a:gd name="T15" fmla="*/ 182 h 219"/>
                <a:gd name="T16" fmla="*/ 167 w 219"/>
                <a:gd name="T17" fmla="*/ 205 h 219"/>
                <a:gd name="T18" fmla="*/ 136 w 219"/>
                <a:gd name="T19" fmla="*/ 216 h 219"/>
                <a:gd name="T20" fmla="*/ 104 w 219"/>
                <a:gd name="T21" fmla="*/ 219 h 219"/>
                <a:gd name="T22" fmla="*/ 69 w 219"/>
                <a:gd name="T23" fmla="*/ 213 h 219"/>
                <a:gd name="T24" fmla="*/ 41 w 219"/>
                <a:gd name="T25" fmla="*/ 193 h 219"/>
                <a:gd name="T26" fmla="*/ 17 w 219"/>
                <a:gd name="T27" fmla="*/ 167 h 219"/>
                <a:gd name="T28" fmla="*/ 3 w 219"/>
                <a:gd name="T29" fmla="*/ 139 h 219"/>
                <a:gd name="T30" fmla="*/ 0 w 219"/>
                <a:gd name="T31" fmla="*/ 104 h 219"/>
                <a:gd name="T32" fmla="*/ 9 w 219"/>
                <a:gd name="T33" fmla="*/ 69 h 219"/>
                <a:gd name="T34" fmla="*/ 26 w 219"/>
                <a:gd name="T35" fmla="*/ 41 h 219"/>
                <a:gd name="T36" fmla="*/ 52 w 219"/>
                <a:gd name="T37" fmla="*/ 17 h 219"/>
                <a:gd name="T38" fmla="*/ 84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3" y="9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4"/>
                  </a:lnTo>
                  <a:lnTo>
                    <a:pt x="219" y="118"/>
                  </a:lnTo>
                  <a:lnTo>
                    <a:pt x="211" y="153"/>
                  </a:lnTo>
                  <a:lnTo>
                    <a:pt x="193" y="182"/>
                  </a:lnTo>
                  <a:lnTo>
                    <a:pt x="167" y="205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69" y="213"/>
                  </a:lnTo>
                  <a:lnTo>
                    <a:pt x="41" y="193"/>
                  </a:lnTo>
                  <a:lnTo>
                    <a:pt x="17" y="167"/>
                  </a:lnTo>
                  <a:lnTo>
                    <a:pt x="3" y="139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41"/>
                  </a:lnTo>
                  <a:lnTo>
                    <a:pt x="52" y="17"/>
                  </a:lnTo>
                  <a:lnTo>
                    <a:pt x="84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8" name="Freeform 277">
              <a:extLst>
                <a:ext uri="{FF2B5EF4-FFF2-40B4-BE49-F238E27FC236}">
                  <a16:creationId xmlns:a16="http://schemas.microsoft.com/office/drawing/2014/main" id="{DF4967B8-FE7D-4CAF-835F-CF31CEB1CC1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188892" y="4559656"/>
              <a:ext cx="175213" cy="175213"/>
            </a:xfrm>
            <a:custGeom>
              <a:avLst/>
              <a:gdLst>
                <a:gd name="T0" fmla="*/ 116 w 219"/>
                <a:gd name="T1" fmla="*/ 0 h 219"/>
                <a:gd name="T2" fmla="*/ 150 w 219"/>
                <a:gd name="T3" fmla="*/ 9 h 219"/>
                <a:gd name="T4" fmla="*/ 182 w 219"/>
                <a:gd name="T5" fmla="*/ 26 h 219"/>
                <a:gd name="T6" fmla="*/ 202 w 219"/>
                <a:gd name="T7" fmla="*/ 52 h 219"/>
                <a:gd name="T8" fmla="*/ 217 w 219"/>
                <a:gd name="T9" fmla="*/ 81 h 219"/>
                <a:gd name="T10" fmla="*/ 219 w 219"/>
                <a:gd name="T11" fmla="*/ 116 h 219"/>
                <a:gd name="T12" fmla="*/ 211 w 219"/>
                <a:gd name="T13" fmla="*/ 150 h 219"/>
                <a:gd name="T14" fmla="*/ 193 w 219"/>
                <a:gd name="T15" fmla="*/ 179 h 219"/>
                <a:gd name="T16" fmla="*/ 168 w 219"/>
                <a:gd name="T17" fmla="*/ 202 h 219"/>
                <a:gd name="T18" fmla="*/ 136 w 219"/>
                <a:gd name="T19" fmla="*/ 214 h 219"/>
                <a:gd name="T20" fmla="*/ 104 w 219"/>
                <a:gd name="T21" fmla="*/ 219 h 219"/>
                <a:gd name="T22" fmla="*/ 69 w 219"/>
                <a:gd name="T23" fmla="*/ 211 h 219"/>
                <a:gd name="T24" fmla="*/ 38 w 219"/>
                <a:gd name="T25" fmla="*/ 193 h 219"/>
                <a:gd name="T26" fmla="*/ 18 w 219"/>
                <a:gd name="T27" fmla="*/ 167 h 219"/>
                <a:gd name="T28" fmla="*/ 3 w 219"/>
                <a:gd name="T29" fmla="*/ 136 h 219"/>
                <a:gd name="T30" fmla="*/ 0 w 219"/>
                <a:gd name="T31" fmla="*/ 101 h 219"/>
                <a:gd name="T32" fmla="*/ 9 w 219"/>
                <a:gd name="T33" fmla="*/ 67 h 219"/>
                <a:gd name="T34" fmla="*/ 26 w 219"/>
                <a:gd name="T35" fmla="*/ 38 h 219"/>
                <a:gd name="T36" fmla="*/ 52 w 219"/>
                <a:gd name="T37" fmla="*/ 15 h 219"/>
                <a:gd name="T38" fmla="*/ 84 w 219"/>
                <a:gd name="T39" fmla="*/ 3 h 219"/>
                <a:gd name="T40" fmla="*/ 116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6" y="0"/>
                  </a:moveTo>
                  <a:lnTo>
                    <a:pt x="150" y="9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7" y="81"/>
                  </a:lnTo>
                  <a:lnTo>
                    <a:pt x="219" y="116"/>
                  </a:lnTo>
                  <a:lnTo>
                    <a:pt x="211" y="150"/>
                  </a:lnTo>
                  <a:lnTo>
                    <a:pt x="193" y="179"/>
                  </a:lnTo>
                  <a:lnTo>
                    <a:pt x="168" y="202"/>
                  </a:lnTo>
                  <a:lnTo>
                    <a:pt x="136" y="214"/>
                  </a:lnTo>
                  <a:lnTo>
                    <a:pt x="104" y="219"/>
                  </a:lnTo>
                  <a:lnTo>
                    <a:pt x="69" y="211"/>
                  </a:lnTo>
                  <a:lnTo>
                    <a:pt x="38" y="193"/>
                  </a:lnTo>
                  <a:lnTo>
                    <a:pt x="18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9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4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9" name="Freeform 278">
              <a:extLst>
                <a:ext uri="{FF2B5EF4-FFF2-40B4-BE49-F238E27FC236}">
                  <a16:creationId xmlns:a16="http://schemas.microsoft.com/office/drawing/2014/main" id="{29DAA757-62A5-49C2-8B38-E6C2820A823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087284" y="4361242"/>
              <a:ext cx="175213" cy="172813"/>
            </a:xfrm>
            <a:custGeom>
              <a:avLst/>
              <a:gdLst>
                <a:gd name="T0" fmla="*/ 115 w 219"/>
                <a:gd name="T1" fmla="*/ 0 h 216"/>
                <a:gd name="T2" fmla="*/ 150 w 219"/>
                <a:gd name="T3" fmla="*/ 6 h 216"/>
                <a:gd name="T4" fmla="*/ 179 w 219"/>
                <a:gd name="T5" fmla="*/ 26 h 216"/>
                <a:gd name="T6" fmla="*/ 202 w 219"/>
                <a:gd name="T7" fmla="*/ 52 h 216"/>
                <a:gd name="T8" fmla="*/ 213 w 219"/>
                <a:gd name="T9" fmla="*/ 81 h 216"/>
                <a:gd name="T10" fmla="*/ 219 w 219"/>
                <a:gd name="T11" fmla="*/ 115 h 216"/>
                <a:gd name="T12" fmla="*/ 211 w 219"/>
                <a:gd name="T13" fmla="*/ 150 h 216"/>
                <a:gd name="T14" fmla="*/ 193 w 219"/>
                <a:gd name="T15" fmla="*/ 179 h 216"/>
                <a:gd name="T16" fmla="*/ 167 w 219"/>
                <a:gd name="T17" fmla="*/ 202 h 216"/>
                <a:gd name="T18" fmla="*/ 136 w 219"/>
                <a:gd name="T19" fmla="*/ 213 h 216"/>
                <a:gd name="T20" fmla="*/ 101 w 219"/>
                <a:gd name="T21" fmla="*/ 216 h 216"/>
                <a:gd name="T22" fmla="*/ 69 w 219"/>
                <a:gd name="T23" fmla="*/ 210 h 216"/>
                <a:gd name="T24" fmla="*/ 38 w 219"/>
                <a:gd name="T25" fmla="*/ 190 h 216"/>
                <a:gd name="T26" fmla="*/ 15 w 219"/>
                <a:gd name="T27" fmla="*/ 167 h 216"/>
                <a:gd name="T28" fmla="*/ 3 w 219"/>
                <a:gd name="T29" fmla="*/ 135 h 216"/>
                <a:gd name="T30" fmla="*/ 0 w 219"/>
                <a:gd name="T31" fmla="*/ 101 h 216"/>
                <a:gd name="T32" fmla="*/ 6 w 219"/>
                <a:gd name="T33" fmla="*/ 66 h 216"/>
                <a:gd name="T34" fmla="*/ 26 w 219"/>
                <a:gd name="T35" fmla="*/ 37 h 216"/>
                <a:gd name="T36" fmla="*/ 52 w 219"/>
                <a:gd name="T37" fmla="*/ 14 h 216"/>
                <a:gd name="T38" fmla="*/ 81 w 219"/>
                <a:gd name="T39" fmla="*/ 3 h 216"/>
                <a:gd name="T40" fmla="*/ 115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5" y="0"/>
                  </a:moveTo>
                  <a:lnTo>
                    <a:pt x="150" y="6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3" y="81"/>
                  </a:lnTo>
                  <a:lnTo>
                    <a:pt x="219" y="115"/>
                  </a:lnTo>
                  <a:lnTo>
                    <a:pt x="211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6" y="213"/>
                  </a:lnTo>
                  <a:lnTo>
                    <a:pt x="101" y="216"/>
                  </a:lnTo>
                  <a:lnTo>
                    <a:pt x="69" y="210"/>
                  </a:lnTo>
                  <a:lnTo>
                    <a:pt x="38" y="190"/>
                  </a:lnTo>
                  <a:lnTo>
                    <a:pt x="15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6" y="66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0" name="Freeform 279">
              <a:extLst>
                <a:ext uri="{FF2B5EF4-FFF2-40B4-BE49-F238E27FC236}">
                  <a16:creationId xmlns:a16="http://schemas.microsoft.com/office/drawing/2014/main" id="{FCA20E72-7F8E-4A38-9185-2C894700812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001678" y="4153227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8 h 219"/>
                <a:gd name="T4" fmla="*/ 179 w 219"/>
                <a:gd name="T5" fmla="*/ 25 h 219"/>
                <a:gd name="T6" fmla="*/ 202 w 219"/>
                <a:gd name="T7" fmla="*/ 51 h 219"/>
                <a:gd name="T8" fmla="*/ 216 w 219"/>
                <a:gd name="T9" fmla="*/ 83 h 219"/>
                <a:gd name="T10" fmla="*/ 219 w 219"/>
                <a:gd name="T11" fmla="*/ 118 h 219"/>
                <a:gd name="T12" fmla="*/ 210 w 219"/>
                <a:gd name="T13" fmla="*/ 152 h 219"/>
                <a:gd name="T14" fmla="*/ 190 w 219"/>
                <a:gd name="T15" fmla="*/ 181 h 219"/>
                <a:gd name="T16" fmla="*/ 167 w 219"/>
                <a:gd name="T17" fmla="*/ 204 h 219"/>
                <a:gd name="T18" fmla="*/ 135 w 219"/>
                <a:gd name="T19" fmla="*/ 216 h 219"/>
                <a:gd name="T20" fmla="*/ 101 w 219"/>
                <a:gd name="T21" fmla="*/ 219 h 219"/>
                <a:gd name="T22" fmla="*/ 66 w 219"/>
                <a:gd name="T23" fmla="*/ 210 h 219"/>
                <a:gd name="T24" fmla="*/ 37 w 219"/>
                <a:gd name="T25" fmla="*/ 193 h 219"/>
                <a:gd name="T26" fmla="*/ 14 w 219"/>
                <a:gd name="T27" fmla="*/ 167 h 219"/>
                <a:gd name="T28" fmla="*/ 3 w 219"/>
                <a:gd name="T29" fmla="*/ 138 h 219"/>
                <a:gd name="T30" fmla="*/ 0 w 219"/>
                <a:gd name="T31" fmla="*/ 103 h 219"/>
                <a:gd name="T32" fmla="*/ 8 w 219"/>
                <a:gd name="T33" fmla="*/ 69 h 219"/>
                <a:gd name="T34" fmla="*/ 26 w 219"/>
                <a:gd name="T35" fmla="*/ 40 h 219"/>
                <a:gd name="T36" fmla="*/ 52 w 219"/>
                <a:gd name="T37" fmla="*/ 17 h 219"/>
                <a:gd name="T38" fmla="*/ 81 w 219"/>
                <a:gd name="T39" fmla="*/ 5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8"/>
                  </a:lnTo>
                  <a:lnTo>
                    <a:pt x="179" y="25"/>
                  </a:lnTo>
                  <a:lnTo>
                    <a:pt x="202" y="51"/>
                  </a:lnTo>
                  <a:lnTo>
                    <a:pt x="216" y="83"/>
                  </a:lnTo>
                  <a:lnTo>
                    <a:pt x="219" y="118"/>
                  </a:lnTo>
                  <a:lnTo>
                    <a:pt x="210" y="152"/>
                  </a:lnTo>
                  <a:lnTo>
                    <a:pt x="190" y="181"/>
                  </a:lnTo>
                  <a:lnTo>
                    <a:pt x="167" y="204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6" y="210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3" y="138"/>
                  </a:lnTo>
                  <a:lnTo>
                    <a:pt x="0" y="103"/>
                  </a:lnTo>
                  <a:lnTo>
                    <a:pt x="8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1" y="5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1" name="Freeform 280">
              <a:extLst>
                <a:ext uri="{FF2B5EF4-FFF2-40B4-BE49-F238E27FC236}">
                  <a16:creationId xmlns:a16="http://schemas.microsoft.com/office/drawing/2014/main" id="{9BD2F20B-4A29-4A58-B45C-D29362CECBF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879269" y="3721996"/>
              <a:ext cx="173613" cy="176013"/>
            </a:xfrm>
            <a:custGeom>
              <a:avLst/>
              <a:gdLst>
                <a:gd name="T0" fmla="*/ 116 w 217"/>
                <a:gd name="T1" fmla="*/ 0 h 220"/>
                <a:gd name="T2" fmla="*/ 150 w 217"/>
                <a:gd name="T3" fmla="*/ 9 h 220"/>
                <a:gd name="T4" fmla="*/ 179 w 217"/>
                <a:gd name="T5" fmla="*/ 26 h 220"/>
                <a:gd name="T6" fmla="*/ 202 w 217"/>
                <a:gd name="T7" fmla="*/ 52 h 220"/>
                <a:gd name="T8" fmla="*/ 214 w 217"/>
                <a:gd name="T9" fmla="*/ 84 h 220"/>
                <a:gd name="T10" fmla="*/ 217 w 217"/>
                <a:gd name="T11" fmla="*/ 116 h 220"/>
                <a:gd name="T12" fmla="*/ 211 w 217"/>
                <a:gd name="T13" fmla="*/ 150 h 220"/>
                <a:gd name="T14" fmla="*/ 191 w 217"/>
                <a:gd name="T15" fmla="*/ 182 h 220"/>
                <a:gd name="T16" fmla="*/ 165 w 217"/>
                <a:gd name="T17" fmla="*/ 202 h 220"/>
                <a:gd name="T18" fmla="*/ 136 w 217"/>
                <a:gd name="T19" fmla="*/ 217 h 220"/>
                <a:gd name="T20" fmla="*/ 101 w 217"/>
                <a:gd name="T21" fmla="*/ 220 h 220"/>
                <a:gd name="T22" fmla="*/ 67 w 217"/>
                <a:gd name="T23" fmla="*/ 211 h 220"/>
                <a:gd name="T24" fmla="*/ 38 w 217"/>
                <a:gd name="T25" fmla="*/ 194 h 220"/>
                <a:gd name="T26" fmla="*/ 15 w 217"/>
                <a:gd name="T27" fmla="*/ 168 h 220"/>
                <a:gd name="T28" fmla="*/ 3 w 217"/>
                <a:gd name="T29" fmla="*/ 136 h 220"/>
                <a:gd name="T30" fmla="*/ 0 w 217"/>
                <a:gd name="T31" fmla="*/ 104 h 220"/>
                <a:gd name="T32" fmla="*/ 6 w 217"/>
                <a:gd name="T33" fmla="*/ 70 h 220"/>
                <a:gd name="T34" fmla="*/ 26 w 217"/>
                <a:gd name="T35" fmla="*/ 38 h 220"/>
                <a:gd name="T36" fmla="*/ 49 w 217"/>
                <a:gd name="T37" fmla="*/ 18 h 220"/>
                <a:gd name="T38" fmla="*/ 81 w 217"/>
                <a:gd name="T39" fmla="*/ 3 h 220"/>
                <a:gd name="T40" fmla="*/ 116 w 217"/>
                <a:gd name="T41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7" h="220">
                  <a:moveTo>
                    <a:pt x="116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4" y="84"/>
                  </a:lnTo>
                  <a:lnTo>
                    <a:pt x="217" y="116"/>
                  </a:lnTo>
                  <a:lnTo>
                    <a:pt x="211" y="150"/>
                  </a:lnTo>
                  <a:lnTo>
                    <a:pt x="191" y="182"/>
                  </a:lnTo>
                  <a:lnTo>
                    <a:pt x="165" y="202"/>
                  </a:lnTo>
                  <a:lnTo>
                    <a:pt x="136" y="217"/>
                  </a:lnTo>
                  <a:lnTo>
                    <a:pt x="101" y="220"/>
                  </a:lnTo>
                  <a:lnTo>
                    <a:pt x="67" y="211"/>
                  </a:lnTo>
                  <a:lnTo>
                    <a:pt x="38" y="194"/>
                  </a:lnTo>
                  <a:lnTo>
                    <a:pt x="15" y="168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6" y="70"/>
                  </a:lnTo>
                  <a:lnTo>
                    <a:pt x="26" y="38"/>
                  </a:lnTo>
                  <a:lnTo>
                    <a:pt x="49" y="18"/>
                  </a:lnTo>
                  <a:lnTo>
                    <a:pt x="81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2" name="Freeform 281">
              <a:extLst>
                <a:ext uri="{FF2B5EF4-FFF2-40B4-BE49-F238E27FC236}">
                  <a16:creationId xmlns:a16="http://schemas.microsoft.com/office/drawing/2014/main" id="{E52556A5-8F6C-470B-9E96-382A0086A54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840066" y="3501179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6 h 219"/>
                <a:gd name="T4" fmla="*/ 178 w 219"/>
                <a:gd name="T5" fmla="*/ 26 h 219"/>
                <a:gd name="T6" fmla="*/ 201 w 219"/>
                <a:gd name="T7" fmla="*/ 52 h 219"/>
                <a:gd name="T8" fmla="*/ 216 w 219"/>
                <a:gd name="T9" fmla="*/ 81 h 219"/>
                <a:gd name="T10" fmla="*/ 219 w 219"/>
                <a:gd name="T11" fmla="*/ 115 h 219"/>
                <a:gd name="T12" fmla="*/ 210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5 w 219"/>
                <a:gd name="T19" fmla="*/ 216 h 219"/>
                <a:gd name="T20" fmla="*/ 101 w 219"/>
                <a:gd name="T21" fmla="*/ 219 h 219"/>
                <a:gd name="T22" fmla="*/ 66 w 219"/>
                <a:gd name="T23" fmla="*/ 211 h 219"/>
                <a:gd name="T24" fmla="*/ 37 w 219"/>
                <a:gd name="T25" fmla="*/ 193 h 219"/>
                <a:gd name="T26" fmla="*/ 14 w 219"/>
                <a:gd name="T27" fmla="*/ 167 h 219"/>
                <a:gd name="T28" fmla="*/ 2 w 219"/>
                <a:gd name="T29" fmla="*/ 136 h 219"/>
                <a:gd name="T30" fmla="*/ 0 w 219"/>
                <a:gd name="T31" fmla="*/ 101 h 219"/>
                <a:gd name="T32" fmla="*/ 8 w 219"/>
                <a:gd name="T33" fmla="*/ 69 h 219"/>
                <a:gd name="T34" fmla="*/ 26 w 219"/>
                <a:gd name="T35" fmla="*/ 38 h 219"/>
                <a:gd name="T36" fmla="*/ 51 w 219"/>
                <a:gd name="T37" fmla="*/ 17 h 219"/>
                <a:gd name="T38" fmla="*/ 83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6"/>
                  </a:lnTo>
                  <a:lnTo>
                    <a:pt x="178" y="26"/>
                  </a:lnTo>
                  <a:lnTo>
                    <a:pt x="201" y="52"/>
                  </a:lnTo>
                  <a:lnTo>
                    <a:pt x="216" y="81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6" y="211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2" y="136"/>
                  </a:lnTo>
                  <a:lnTo>
                    <a:pt x="0" y="101"/>
                  </a:lnTo>
                  <a:lnTo>
                    <a:pt x="8" y="69"/>
                  </a:lnTo>
                  <a:lnTo>
                    <a:pt x="26" y="38"/>
                  </a:lnTo>
                  <a:lnTo>
                    <a:pt x="51" y="17"/>
                  </a:lnTo>
                  <a:lnTo>
                    <a:pt x="83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3" name="Freeform 282">
              <a:extLst>
                <a:ext uri="{FF2B5EF4-FFF2-40B4-BE49-F238E27FC236}">
                  <a16:creationId xmlns:a16="http://schemas.microsoft.com/office/drawing/2014/main" id="{56FC8B0F-2A48-417A-B8B9-FBDE6024FA0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819265" y="3279564"/>
              <a:ext cx="175213" cy="172813"/>
            </a:xfrm>
            <a:custGeom>
              <a:avLst/>
              <a:gdLst>
                <a:gd name="T0" fmla="*/ 118 w 219"/>
                <a:gd name="T1" fmla="*/ 0 h 216"/>
                <a:gd name="T2" fmla="*/ 149 w 219"/>
                <a:gd name="T3" fmla="*/ 5 h 216"/>
                <a:gd name="T4" fmla="*/ 181 w 219"/>
                <a:gd name="T5" fmla="*/ 26 h 216"/>
                <a:gd name="T6" fmla="*/ 201 w 219"/>
                <a:gd name="T7" fmla="*/ 49 h 216"/>
                <a:gd name="T8" fmla="*/ 216 w 219"/>
                <a:gd name="T9" fmla="*/ 80 h 216"/>
                <a:gd name="T10" fmla="*/ 219 w 219"/>
                <a:gd name="T11" fmla="*/ 115 h 216"/>
                <a:gd name="T12" fmla="*/ 210 w 219"/>
                <a:gd name="T13" fmla="*/ 150 h 216"/>
                <a:gd name="T14" fmla="*/ 193 w 219"/>
                <a:gd name="T15" fmla="*/ 178 h 216"/>
                <a:gd name="T16" fmla="*/ 167 w 219"/>
                <a:gd name="T17" fmla="*/ 201 h 216"/>
                <a:gd name="T18" fmla="*/ 135 w 219"/>
                <a:gd name="T19" fmla="*/ 213 h 216"/>
                <a:gd name="T20" fmla="*/ 103 w 219"/>
                <a:gd name="T21" fmla="*/ 216 h 216"/>
                <a:gd name="T22" fmla="*/ 69 w 219"/>
                <a:gd name="T23" fmla="*/ 210 h 216"/>
                <a:gd name="T24" fmla="*/ 37 w 219"/>
                <a:gd name="T25" fmla="*/ 190 h 216"/>
                <a:gd name="T26" fmla="*/ 17 w 219"/>
                <a:gd name="T27" fmla="*/ 164 h 216"/>
                <a:gd name="T28" fmla="*/ 2 w 219"/>
                <a:gd name="T29" fmla="*/ 135 h 216"/>
                <a:gd name="T30" fmla="*/ 0 w 219"/>
                <a:gd name="T31" fmla="*/ 101 h 216"/>
                <a:gd name="T32" fmla="*/ 8 w 219"/>
                <a:gd name="T33" fmla="*/ 66 h 216"/>
                <a:gd name="T34" fmla="*/ 25 w 219"/>
                <a:gd name="T35" fmla="*/ 37 h 216"/>
                <a:gd name="T36" fmla="*/ 51 w 219"/>
                <a:gd name="T37" fmla="*/ 14 h 216"/>
                <a:gd name="T38" fmla="*/ 83 w 219"/>
                <a:gd name="T39" fmla="*/ 3 h 216"/>
                <a:gd name="T40" fmla="*/ 118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8" y="0"/>
                  </a:moveTo>
                  <a:lnTo>
                    <a:pt x="149" y="5"/>
                  </a:lnTo>
                  <a:lnTo>
                    <a:pt x="181" y="26"/>
                  </a:lnTo>
                  <a:lnTo>
                    <a:pt x="201" y="49"/>
                  </a:lnTo>
                  <a:lnTo>
                    <a:pt x="216" y="80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78"/>
                  </a:lnTo>
                  <a:lnTo>
                    <a:pt x="167" y="201"/>
                  </a:lnTo>
                  <a:lnTo>
                    <a:pt x="135" y="213"/>
                  </a:lnTo>
                  <a:lnTo>
                    <a:pt x="103" y="216"/>
                  </a:lnTo>
                  <a:lnTo>
                    <a:pt x="69" y="210"/>
                  </a:lnTo>
                  <a:lnTo>
                    <a:pt x="37" y="190"/>
                  </a:lnTo>
                  <a:lnTo>
                    <a:pt x="17" y="164"/>
                  </a:lnTo>
                  <a:lnTo>
                    <a:pt x="2" y="135"/>
                  </a:lnTo>
                  <a:lnTo>
                    <a:pt x="0" y="101"/>
                  </a:lnTo>
                  <a:lnTo>
                    <a:pt x="8" y="66"/>
                  </a:lnTo>
                  <a:lnTo>
                    <a:pt x="25" y="37"/>
                  </a:lnTo>
                  <a:lnTo>
                    <a:pt x="51" y="14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4" name="Freeform 283">
              <a:extLst>
                <a:ext uri="{FF2B5EF4-FFF2-40B4-BE49-F238E27FC236}">
                  <a16:creationId xmlns:a16="http://schemas.microsoft.com/office/drawing/2014/main" id="{E439C95F-2BE6-4AFA-A056-0A7FA3BB700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815264" y="3053947"/>
              <a:ext cx="175213" cy="175213"/>
            </a:xfrm>
            <a:custGeom>
              <a:avLst/>
              <a:gdLst>
                <a:gd name="T0" fmla="*/ 119 w 219"/>
                <a:gd name="T1" fmla="*/ 0 h 219"/>
                <a:gd name="T2" fmla="*/ 150 w 219"/>
                <a:gd name="T3" fmla="*/ 6 h 219"/>
                <a:gd name="T4" fmla="*/ 182 w 219"/>
                <a:gd name="T5" fmla="*/ 26 h 219"/>
                <a:gd name="T6" fmla="*/ 202 w 219"/>
                <a:gd name="T7" fmla="*/ 52 h 219"/>
                <a:gd name="T8" fmla="*/ 217 w 219"/>
                <a:gd name="T9" fmla="*/ 81 h 219"/>
                <a:gd name="T10" fmla="*/ 219 w 219"/>
                <a:gd name="T11" fmla="*/ 116 h 219"/>
                <a:gd name="T12" fmla="*/ 211 w 219"/>
                <a:gd name="T13" fmla="*/ 150 h 219"/>
                <a:gd name="T14" fmla="*/ 193 w 219"/>
                <a:gd name="T15" fmla="*/ 179 h 219"/>
                <a:gd name="T16" fmla="*/ 168 w 219"/>
                <a:gd name="T17" fmla="*/ 202 h 219"/>
                <a:gd name="T18" fmla="*/ 136 w 219"/>
                <a:gd name="T19" fmla="*/ 214 h 219"/>
                <a:gd name="T20" fmla="*/ 104 w 219"/>
                <a:gd name="T21" fmla="*/ 219 h 219"/>
                <a:gd name="T22" fmla="*/ 70 w 219"/>
                <a:gd name="T23" fmla="*/ 211 h 219"/>
                <a:gd name="T24" fmla="*/ 41 w 219"/>
                <a:gd name="T25" fmla="*/ 193 h 219"/>
                <a:gd name="T26" fmla="*/ 18 w 219"/>
                <a:gd name="T27" fmla="*/ 167 h 219"/>
                <a:gd name="T28" fmla="*/ 3 w 219"/>
                <a:gd name="T29" fmla="*/ 136 h 219"/>
                <a:gd name="T30" fmla="*/ 0 w 219"/>
                <a:gd name="T31" fmla="*/ 101 h 219"/>
                <a:gd name="T32" fmla="*/ 9 w 219"/>
                <a:gd name="T33" fmla="*/ 67 h 219"/>
                <a:gd name="T34" fmla="*/ 26 w 219"/>
                <a:gd name="T35" fmla="*/ 38 h 219"/>
                <a:gd name="T36" fmla="*/ 52 w 219"/>
                <a:gd name="T37" fmla="*/ 15 h 219"/>
                <a:gd name="T38" fmla="*/ 84 w 219"/>
                <a:gd name="T39" fmla="*/ 3 h 219"/>
                <a:gd name="T40" fmla="*/ 119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9" y="0"/>
                  </a:moveTo>
                  <a:lnTo>
                    <a:pt x="150" y="6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7" y="81"/>
                  </a:lnTo>
                  <a:lnTo>
                    <a:pt x="219" y="116"/>
                  </a:lnTo>
                  <a:lnTo>
                    <a:pt x="211" y="150"/>
                  </a:lnTo>
                  <a:lnTo>
                    <a:pt x="193" y="179"/>
                  </a:lnTo>
                  <a:lnTo>
                    <a:pt x="168" y="202"/>
                  </a:lnTo>
                  <a:lnTo>
                    <a:pt x="136" y="214"/>
                  </a:lnTo>
                  <a:lnTo>
                    <a:pt x="104" y="219"/>
                  </a:lnTo>
                  <a:lnTo>
                    <a:pt x="70" y="211"/>
                  </a:lnTo>
                  <a:lnTo>
                    <a:pt x="41" y="193"/>
                  </a:lnTo>
                  <a:lnTo>
                    <a:pt x="18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9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4" y="3"/>
                  </a:lnTo>
                  <a:lnTo>
                    <a:pt x="1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5" name="Freeform 284">
              <a:extLst>
                <a:ext uri="{FF2B5EF4-FFF2-40B4-BE49-F238E27FC236}">
                  <a16:creationId xmlns:a16="http://schemas.microsoft.com/office/drawing/2014/main" id="{CACA537D-EDA0-4C42-AE32-96AD7E9E31A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826465" y="2829930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6 h 219"/>
                <a:gd name="T4" fmla="*/ 182 w 219"/>
                <a:gd name="T5" fmla="*/ 26 h 219"/>
                <a:gd name="T6" fmla="*/ 202 w 219"/>
                <a:gd name="T7" fmla="*/ 52 h 219"/>
                <a:gd name="T8" fmla="*/ 216 w 219"/>
                <a:gd name="T9" fmla="*/ 81 h 219"/>
                <a:gd name="T10" fmla="*/ 219 w 219"/>
                <a:gd name="T11" fmla="*/ 115 h 219"/>
                <a:gd name="T12" fmla="*/ 210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8 w 219"/>
                <a:gd name="T19" fmla="*/ 216 h 219"/>
                <a:gd name="T20" fmla="*/ 104 w 219"/>
                <a:gd name="T21" fmla="*/ 219 h 219"/>
                <a:gd name="T22" fmla="*/ 69 w 219"/>
                <a:gd name="T23" fmla="*/ 210 h 219"/>
                <a:gd name="T24" fmla="*/ 37 w 219"/>
                <a:gd name="T25" fmla="*/ 193 h 219"/>
                <a:gd name="T26" fmla="*/ 17 w 219"/>
                <a:gd name="T27" fmla="*/ 167 h 219"/>
                <a:gd name="T28" fmla="*/ 3 w 219"/>
                <a:gd name="T29" fmla="*/ 135 h 219"/>
                <a:gd name="T30" fmla="*/ 0 w 219"/>
                <a:gd name="T31" fmla="*/ 101 h 219"/>
                <a:gd name="T32" fmla="*/ 9 w 219"/>
                <a:gd name="T33" fmla="*/ 69 h 219"/>
                <a:gd name="T34" fmla="*/ 26 w 219"/>
                <a:gd name="T35" fmla="*/ 37 h 219"/>
                <a:gd name="T36" fmla="*/ 52 w 219"/>
                <a:gd name="T37" fmla="*/ 14 h 219"/>
                <a:gd name="T38" fmla="*/ 84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6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1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8" y="216"/>
                  </a:lnTo>
                  <a:lnTo>
                    <a:pt x="104" y="219"/>
                  </a:lnTo>
                  <a:lnTo>
                    <a:pt x="69" y="210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9" y="69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4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6" name="Freeform 285">
              <a:extLst>
                <a:ext uri="{FF2B5EF4-FFF2-40B4-BE49-F238E27FC236}">
                  <a16:creationId xmlns:a16="http://schemas.microsoft.com/office/drawing/2014/main" id="{96A02B87-CAC9-4DFB-8AF8-8811D9C724B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854468" y="2608314"/>
              <a:ext cx="175213" cy="175213"/>
            </a:xfrm>
            <a:custGeom>
              <a:avLst/>
              <a:gdLst>
                <a:gd name="T0" fmla="*/ 116 w 219"/>
                <a:gd name="T1" fmla="*/ 0 h 219"/>
                <a:gd name="T2" fmla="*/ 150 w 219"/>
                <a:gd name="T3" fmla="*/ 8 h 219"/>
                <a:gd name="T4" fmla="*/ 179 w 219"/>
                <a:gd name="T5" fmla="*/ 25 h 219"/>
                <a:gd name="T6" fmla="*/ 202 w 219"/>
                <a:gd name="T7" fmla="*/ 51 h 219"/>
                <a:gd name="T8" fmla="*/ 217 w 219"/>
                <a:gd name="T9" fmla="*/ 83 h 219"/>
                <a:gd name="T10" fmla="*/ 219 w 219"/>
                <a:gd name="T11" fmla="*/ 115 h 219"/>
                <a:gd name="T12" fmla="*/ 211 w 219"/>
                <a:gd name="T13" fmla="*/ 149 h 219"/>
                <a:gd name="T14" fmla="*/ 193 w 219"/>
                <a:gd name="T15" fmla="*/ 181 h 219"/>
                <a:gd name="T16" fmla="*/ 168 w 219"/>
                <a:gd name="T17" fmla="*/ 201 h 219"/>
                <a:gd name="T18" fmla="*/ 136 w 219"/>
                <a:gd name="T19" fmla="*/ 216 h 219"/>
                <a:gd name="T20" fmla="*/ 101 w 219"/>
                <a:gd name="T21" fmla="*/ 219 h 219"/>
                <a:gd name="T22" fmla="*/ 69 w 219"/>
                <a:gd name="T23" fmla="*/ 210 h 219"/>
                <a:gd name="T24" fmla="*/ 38 w 219"/>
                <a:gd name="T25" fmla="*/ 193 h 219"/>
                <a:gd name="T26" fmla="*/ 18 w 219"/>
                <a:gd name="T27" fmla="*/ 167 h 219"/>
                <a:gd name="T28" fmla="*/ 3 w 219"/>
                <a:gd name="T29" fmla="*/ 135 h 219"/>
                <a:gd name="T30" fmla="*/ 0 w 219"/>
                <a:gd name="T31" fmla="*/ 103 h 219"/>
                <a:gd name="T32" fmla="*/ 9 w 219"/>
                <a:gd name="T33" fmla="*/ 69 h 219"/>
                <a:gd name="T34" fmla="*/ 26 w 219"/>
                <a:gd name="T35" fmla="*/ 37 h 219"/>
                <a:gd name="T36" fmla="*/ 52 w 219"/>
                <a:gd name="T37" fmla="*/ 17 h 219"/>
                <a:gd name="T38" fmla="*/ 84 w 219"/>
                <a:gd name="T39" fmla="*/ 2 h 219"/>
                <a:gd name="T40" fmla="*/ 116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6" y="0"/>
                  </a:moveTo>
                  <a:lnTo>
                    <a:pt x="150" y="8"/>
                  </a:lnTo>
                  <a:lnTo>
                    <a:pt x="179" y="25"/>
                  </a:lnTo>
                  <a:lnTo>
                    <a:pt x="202" y="51"/>
                  </a:lnTo>
                  <a:lnTo>
                    <a:pt x="217" y="83"/>
                  </a:lnTo>
                  <a:lnTo>
                    <a:pt x="219" y="115"/>
                  </a:lnTo>
                  <a:lnTo>
                    <a:pt x="211" y="149"/>
                  </a:lnTo>
                  <a:lnTo>
                    <a:pt x="193" y="181"/>
                  </a:lnTo>
                  <a:lnTo>
                    <a:pt x="168" y="201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9" y="210"/>
                  </a:lnTo>
                  <a:lnTo>
                    <a:pt x="38" y="193"/>
                  </a:lnTo>
                  <a:lnTo>
                    <a:pt x="18" y="167"/>
                  </a:lnTo>
                  <a:lnTo>
                    <a:pt x="3" y="135"/>
                  </a:lnTo>
                  <a:lnTo>
                    <a:pt x="0" y="103"/>
                  </a:lnTo>
                  <a:lnTo>
                    <a:pt x="9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4" y="2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7" name="Freeform 286">
              <a:extLst>
                <a:ext uri="{FF2B5EF4-FFF2-40B4-BE49-F238E27FC236}">
                  <a16:creationId xmlns:a16="http://schemas.microsoft.com/office/drawing/2014/main" id="{B299EE48-BDC0-445B-A04C-CA8D20BCEC9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960075" y="2173083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0 w 219"/>
                <a:gd name="T3" fmla="*/ 9 h 219"/>
                <a:gd name="T4" fmla="*/ 181 w 219"/>
                <a:gd name="T5" fmla="*/ 26 h 219"/>
                <a:gd name="T6" fmla="*/ 201 w 219"/>
                <a:gd name="T7" fmla="*/ 52 h 219"/>
                <a:gd name="T8" fmla="*/ 216 w 219"/>
                <a:gd name="T9" fmla="*/ 84 h 219"/>
                <a:gd name="T10" fmla="*/ 219 w 219"/>
                <a:gd name="T11" fmla="*/ 116 h 219"/>
                <a:gd name="T12" fmla="*/ 210 w 219"/>
                <a:gd name="T13" fmla="*/ 150 h 219"/>
                <a:gd name="T14" fmla="*/ 193 w 219"/>
                <a:gd name="T15" fmla="*/ 182 h 219"/>
                <a:gd name="T16" fmla="*/ 167 w 219"/>
                <a:gd name="T17" fmla="*/ 202 h 219"/>
                <a:gd name="T18" fmla="*/ 138 w 219"/>
                <a:gd name="T19" fmla="*/ 216 h 219"/>
                <a:gd name="T20" fmla="*/ 103 w 219"/>
                <a:gd name="T21" fmla="*/ 219 h 219"/>
                <a:gd name="T22" fmla="*/ 69 w 219"/>
                <a:gd name="T23" fmla="*/ 211 h 219"/>
                <a:gd name="T24" fmla="*/ 40 w 219"/>
                <a:gd name="T25" fmla="*/ 193 h 219"/>
                <a:gd name="T26" fmla="*/ 17 w 219"/>
                <a:gd name="T27" fmla="*/ 167 h 219"/>
                <a:gd name="T28" fmla="*/ 3 w 219"/>
                <a:gd name="T29" fmla="*/ 136 h 219"/>
                <a:gd name="T30" fmla="*/ 0 w 219"/>
                <a:gd name="T31" fmla="*/ 101 h 219"/>
                <a:gd name="T32" fmla="*/ 8 w 219"/>
                <a:gd name="T33" fmla="*/ 69 h 219"/>
                <a:gd name="T34" fmla="*/ 26 w 219"/>
                <a:gd name="T35" fmla="*/ 38 h 219"/>
                <a:gd name="T36" fmla="*/ 52 w 219"/>
                <a:gd name="T37" fmla="*/ 18 h 219"/>
                <a:gd name="T38" fmla="*/ 83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0" y="9"/>
                  </a:lnTo>
                  <a:lnTo>
                    <a:pt x="181" y="26"/>
                  </a:lnTo>
                  <a:lnTo>
                    <a:pt x="201" y="52"/>
                  </a:lnTo>
                  <a:lnTo>
                    <a:pt x="216" y="84"/>
                  </a:lnTo>
                  <a:lnTo>
                    <a:pt x="219" y="116"/>
                  </a:lnTo>
                  <a:lnTo>
                    <a:pt x="210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8" y="216"/>
                  </a:lnTo>
                  <a:lnTo>
                    <a:pt x="103" y="219"/>
                  </a:lnTo>
                  <a:lnTo>
                    <a:pt x="69" y="211"/>
                  </a:lnTo>
                  <a:lnTo>
                    <a:pt x="40" y="193"/>
                  </a:lnTo>
                  <a:lnTo>
                    <a:pt x="17" y="167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8" y="69"/>
                  </a:lnTo>
                  <a:lnTo>
                    <a:pt x="26" y="38"/>
                  </a:lnTo>
                  <a:lnTo>
                    <a:pt x="52" y="18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8" name="Freeform 287">
              <a:extLst>
                <a:ext uri="{FF2B5EF4-FFF2-40B4-BE49-F238E27FC236}">
                  <a16:creationId xmlns:a16="http://schemas.microsoft.com/office/drawing/2014/main" id="{24ABA9E0-0ECD-4A96-8721-8186F95B84D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870469" y="1896262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79 w 219"/>
                <a:gd name="T5" fmla="*/ 26 h 219"/>
                <a:gd name="T6" fmla="*/ 202 w 219"/>
                <a:gd name="T7" fmla="*/ 52 h 219"/>
                <a:gd name="T8" fmla="*/ 216 w 219"/>
                <a:gd name="T9" fmla="*/ 84 h 219"/>
                <a:gd name="T10" fmla="*/ 219 w 219"/>
                <a:gd name="T11" fmla="*/ 118 h 219"/>
                <a:gd name="T12" fmla="*/ 211 w 219"/>
                <a:gd name="T13" fmla="*/ 153 h 219"/>
                <a:gd name="T14" fmla="*/ 193 w 219"/>
                <a:gd name="T15" fmla="*/ 182 h 219"/>
                <a:gd name="T16" fmla="*/ 167 w 219"/>
                <a:gd name="T17" fmla="*/ 205 h 219"/>
                <a:gd name="T18" fmla="*/ 136 w 219"/>
                <a:gd name="T19" fmla="*/ 216 h 219"/>
                <a:gd name="T20" fmla="*/ 104 w 219"/>
                <a:gd name="T21" fmla="*/ 219 h 219"/>
                <a:gd name="T22" fmla="*/ 69 w 219"/>
                <a:gd name="T23" fmla="*/ 213 h 219"/>
                <a:gd name="T24" fmla="*/ 38 w 219"/>
                <a:gd name="T25" fmla="*/ 193 h 219"/>
                <a:gd name="T26" fmla="*/ 17 w 219"/>
                <a:gd name="T27" fmla="*/ 167 h 219"/>
                <a:gd name="T28" fmla="*/ 3 w 219"/>
                <a:gd name="T29" fmla="*/ 138 h 219"/>
                <a:gd name="T30" fmla="*/ 0 w 219"/>
                <a:gd name="T31" fmla="*/ 104 h 219"/>
                <a:gd name="T32" fmla="*/ 9 w 219"/>
                <a:gd name="T33" fmla="*/ 69 h 219"/>
                <a:gd name="T34" fmla="*/ 26 w 219"/>
                <a:gd name="T35" fmla="*/ 40 h 219"/>
                <a:gd name="T36" fmla="*/ 52 w 219"/>
                <a:gd name="T37" fmla="*/ 17 h 219"/>
                <a:gd name="T38" fmla="*/ 81 w 219"/>
                <a:gd name="T39" fmla="*/ 6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6" y="84"/>
                  </a:lnTo>
                  <a:lnTo>
                    <a:pt x="219" y="118"/>
                  </a:lnTo>
                  <a:lnTo>
                    <a:pt x="211" y="153"/>
                  </a:lnTo>
                  <a:lnTo>
                    <a:pt x="193" y="182"/>
                  </a:lnTo>
                  <a:lnTo>
                    <a:pt x="167" y="205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69" y="213"/>
                  </a:lnTo>
                  <a:lnTo>
                    <a:pt x="38" y="193"/>
                  </a:lnTo>
                  <a:lnTo>
                    <a:pt x="17" y="167"/>
                  </a:lnTo>
                  <a:lnTo>
                    <a:pt x="3" y="138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1" y="6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9" name="Freeform 288">
              <a:extLst>
                <a:ext uri="{FF2B5EF4-FFF2-40B4-BE49-F238E27FC236}">
                  <a16:creationId xmlns:a16="http://schemas.microsoft.com/office/drawing/2014/main" id="{516F7CFB-AE92-4C16-9CE1-682881765CE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962475" y="1690647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0 w 219"/>
                <a:gd name="T3" fmla="*/ 8 h 219"/>
                <a:gd name="T4" fmla="*/ 181 w 219"/>
                <a:gd name="T5" fmla="*/ 26 h 219"/>
                <a:gd name="T6" fmla="*/ 202 w 219"/>
                <a:gd name="T7" fmla="*/ 52 h 219"/>
                <a:gd name="T8" fmla="*/ 216 w 219"/>
                <a:gd name="T9" fmla="*/ 83 h 219"/>
                <a:gd name="T10" fmla="*/ 219 w 219"/>
                <a:gd name="T11" fmla="*/ 115 h 219"/>
                <a:gd name="T12" fmla="*/ 210 w 219"/>
                <a:gd name="T13" fmla="*/ 149 h 219"/>
                <a:gd name="T14" fmla="*/ 193 w 219"/>
                <a:gd name="T15" fmla="*/ 181 h 219"/>
                <a:gd name="T16" fmla="*/ 167 w 219"/>
                <a:gd name="T17" fmla="*/ 201 h 219"/>
                <a:gd name="T18" fmla="*/ 135 w 219"/>
                <a:gd name="T19" fmla="*/ 216 h 219"/>
                <a:gd name="T20" fmla="*/ 104 w 219"/>
                <a:gd name="T21" fmla="*/ 219 h 219"/>
                <a:gd name="T22" fmla="*/ 69 w 219"/>
                <a:gd name="T23" fmla="*/ 210 h 219"/>
                <a:gd name="T24" fmla="*/ 40 w 219"/>
                <a:gd name="T25" fmla="*/ 193 h 219"/>
                <a:gd name="T26" fmla="*/ 17 w 219"/>
                <a:gd name="T27" fmla="*/ 167 h 219"/>
                <a:gd name="T28" fmla="*/ 3 w 219"/>
                <a:gd name="T29" fmla="*/ 135 h 219"/>
                <a:gd name="T30" fmla="*/ 0 w 219"/>
                <a:gd name="T31" fmla="*/ 103 h 219"/>
                <a:gd name="T32" fmla="*/ 8 w 219"/>
                <a:gd name="T33" fmla="*/ 69 h 219"/>
                <a:gd name="T34" fmla="*/ 26 w 219"/>
                <a:gd name="T35" fmla="*/ 37 h 219"/>
                <a:gd name="T36" fmla="*/ 52 w 219"/>
                <a:gd name="T37" fmla="*/ 17 h 219"/>
                <a:gd name="T38" fmla="*/ 83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0" y="8"/>
                  </a:lnTo>
                  <a:lnTo>
                    <a:pt x="181" y="26"/>
                  </a:lnTo>
                  <a:lnTo>
                    <a:pt x="202" y="52"/>
                  </a:lnTo>
                  <a:lnTo>
                    <a:pt x="216" y="83"/>
                  </a:lnTo>
                  <a:lnTo>
                    <a:pt x="219" y="115"/>
                  </a:lnTo>
                  <a:lnTo>
                    <a:pt x="210" y="149"/>
                  </a:lnTo>
                  <a:lnTo>
                    <a:pt x="193" y="181"/>
                  </a:lnTo>
                  <a:lnTo>
                    <a:pt x="167" y="201"/>
                  </a:lnTo>
                  <a:lnTo>
                    <a:pt x="135" y="216"/>
                  </a:lnTo>
                  <a:lnTo>
                    <a:pt x="104" y="219"/>
                  </a:lnTo>
                  <a:lnTo>
                    <a:pt x="69" y="210"/>
                  </a:lnTo>
                  <a:lnTo>
                    <a:pt x="40" y="193"/>
                  </a:lnTo>
                  <a:lnTo>
                    <a:pt x="17" y="167"/>
                  </a:lnTo>
                  <a:lnTo>
                    <a:pt x="3" y="135"/>
                  </a:lnTo>
                  <a:lnTo>
                    <a:pt x="0" y="103"/>
                  </a:lnTo>
                  <a:lnTo>
                    <a:pt x="8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0" name="Freeform 289">
              <a:extLst>
                <a:ext uri="{FF2B5EF4-FFF2-40B4-BE49-F238E27FC236}">
                  <a16:creationId xmlns:a16="http://schemas.microsoft.com/office/drawing/2014/main" id="{544F201F-12A6-4B2A-9A14-CD0E83DE386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068883" y="1492233"/>
              <a:ext cx="172813" cy="176013"/>
            </a:xfrm>
            <a:custGeom>
              <a:avLst/>
              <a:gdLst>
                <a:gd name="T0" fmla="*/ 115 w 216"/>
                <a:gd name="T1" fmla="*/ 0 h 220"/>
                <a:gd name="T2" fmla="*/ 150 w 216"/>
                <a:gd name="T3" fmla="*/ 6 h 220"/>
                <a:gd name="T4" fmla="*/ 179 w 216"/>
                <a:gd name="T5" fmla="*/ 26 h 220"/>
                <a:gd name="T6" fmla="*/ 202 w 216"/>
                <a:gd name="T7" fmla="*/ 52 h 220"/>
                <a:gd name="T8" fmla="*/ 213 w 216"/>
                <a:gd name="T9" fmla="*/ 81 h 220"/>
                <a:gd name="T10" fmla="*/ 216 w 216"/>
                <a:gd name="T11" fmla="*/ 116 h 220"/>
                <a:gd name="T12" fmla="*/ 211 w 216"/>
                <a:gd name="T13" fmla="*/ 150 h 220"/>
                <a:gd name="T14" fmla="*/ 190 w 216"/>
                <a:gd name="T15" fmla="*/ 179 h 220"/>
                <a:gd name="T16" fmla="*/ 164 w 216"/>
                <a:gd name="T17" fmla="*/ 202 h 220"/>
                <a:gd name="T18" fmla="*/ 136 w 216"/>
                <a:gd name="T19" fmla="*/ 217 h 220"/>
                <a:gd name="T20" fmla="*/ 101 w 216"/>
                <a:gd name="T21" fmla="*/ 220 h 220"/>
                <a:gd name="T22" fmla="*/ 66 w 216"/>
                <a:gd name="T23" fmla="*/ 211 h 220"/>
                <a:gd name="T24" fmla="*/ 38 w 216"/>
                <a:gd name="T25" fmla="*/ 194 h 220"/>
                <a:gd name="T26" fmla="*/ 15 w 216"/>
                <a:gd name="T27" fmla="*/ 168 h 220"/>
                <a:gd name="T28" fmla="*/ 3 w 216"/>
                <a:gd name="T29" fmla="*/ 136 h 220"/>
                <a:gd name="T30" fmla="*/ 0 w 216"/>
                <a:gd name="T31" fmla="*/ 101 h 220"/>
                <a:gd name="T32" fmla="*/ 6 w 216"/>
                <a:gd name="T33" fmla="*/ 67 h 220"/>
                <a:gd name="T34" fmla="*/ 26 w 216"/>
                <a:gd name="T35" fmla="*/ 38 h 220"/>
                <a:gd name="T36" fmla="*/ 52 w 216"/>
                <a:gd name="T37" fmla="*/ 15 h 220"/>
                <a:gd name="T38" fmla="*/ 81 w 216"/>
                <a:gd name="T39" fmla="*/ 3 h 220"/>
                <a:gd name="T40" fmla="*/ 115 w 216"/>
                <a:gd name="T41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20">
                  <a:moveTo>
                    <a:pt x="115" y="0"/>
                  </a:moveTo>
                  <a:lnTo>
                    <a:pt x="150" y="6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3" y="81"/>
                  </a:lnTo>
                  <a:lnTo>
                    <a:pt x="216" y="116"/>
                  </a:lnTo>
                  <a:lnTo>
                    <a:pt x="211" y="150"/>
                  </a:lnTo>
                  <a:lnTo>
                    <a:pt x="190" y="179"/>
                  </a:lnTo>
                  <a:lnTo>
                    <a:pt x="164" y="202"/>
                  </a:lnTo>
                  <a:lnTo>
                    <a:pt x="136" y="217"/>
                  </a:lnTo>
                  <a:lnTo>
                    <a:pt x="101" y="220"/>
                  </a:lnTo>
                  <a:lnTo>
                    <a:pt x="66" y="211"/>
                  </a:lnTo>
                  <a:lnTo>
                    <a:pt x="38" y="194"/>
                  </a:lnTo>
                  <a:lnTo>
                    <a:pt x="15" y="168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6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1" name="Freeform 290">
              <a:extLst>
                <a:ext uri="{FF2B5EF4-FFF2-40B4-BE49-F238E27FC236}">
                  <a16:creationId xmlns:a16="http://schemas.microsoft.com/office/drawing/2014/main" id="{EF6C7D8E-8134-48B0-9733-DC4529E477C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220894" y="1337822"/>
              <a:ext cx="108008" cy="108808"/>
            </a:xfrm>
            <a:custGeom>
              <a:avLst/>
              <a:gdLst>
                <a:gd name="T0" fmla="*/ 66 w 135"/>
                <a:gd name="T1" fmla="*/ 0 h 136"/>
                <a:gd name="T2" fmla="*/ 95 w 135"/>
                <a:gd name="T3" fmla="*/ 6 h 136"/>
                <a:gd name="T4" fmla="*/ 118 w 135"/>
                <a:gd name="T5" fmla="*/ 20 h 136"/>
                <a:gd name="T6" fmla="*/ 132 w 135"/>
                <a:gd name="T7" fmla="*/ 43 h 136"/>
                <a:gd name="T8" fmla="*/ 135 w 135"/>
                <a:gd name="T9" fmla="*/ 69 h 136"/>
                <a:gd name="T10" fmla="*/ 132 w 135"/>
                <a:gd name="T11" fmla="*/ 95 h 136"/>
                <a:gd name="T12" fmla="*/ 118 w 135"/>
                <a:gd name="T13" fmla="*/ 118 h 136"/>
                <a:gd name="T14" fmla="*/ 95 w 135"/>
                <a:gd name="T15" fmla="*/ 133 h 136"/>
                <a:gd name="T16" fmla="*/ 69 w 135"/>
                <a:gd name="T17" fmla="*/ 136 h 136"/>
                <a:gd name="T18" fmla="*/ 43 w 135"/>
                <a:gd name="T19" fmla="*/ 133 h 136"/>
                <a:gd name="T20" fmla="*/ 20 w 135"/>
                <a:gd name="T21" fmla="*/ 115 h 136"/>
                <a:gd name="T22" fmla="*/ 5 w 135"/>
                <a:gd name="T23" fmla="*/ 95 h 136"/>
                <a:gd name="T24" fmla="*/ 0 w 135"/>
                <a:gd name="T25" fmla="*/ 69 h 136"/>
                <a:gd name="T26" fmla="*/ 5 w 135"/>
                <a:gd name="T27" fmla="*/ 43 h 136"/>
                <a:gd name="T28" fmla="*/ 20 w 135"/>
                <a:gd name="T29" fmla="*/ 20 h 136"/>
                <a:gd name="T30" fmla="*/ 43 w 135"/>
                <a:gd name="T31" fmla="*/ 6 h 136"/>
                <a:gd name="T32" fmla="*/ 66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6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2" y="43"/>
                  </a:lnTo>
                  <a:lnTo>
                    <a:pt x="135" y="69"/>
                  </a:lnTo>
                  <a:lnTo>
                    <a:pt x="132" y="95"/>
                  </a:lnTo>
                  <a:lnTo>
                    <a:pt x="118" y="118"/>
                  </a:lnTo>
                  <a:lnTo>
                    <a:pt x="95" y="133"/>
                  </a:lnTo>
                  <a:lnTo>
                    <a:pt x="69" y="136"/>
                  </a:lnTo>
                  <a:lnTo>
                    <a:pt x="43" y="133"/>
                  </a:lnTo>
                  <a:lnTo>
                    <a:pt x="20" y="115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2" name="Freeform 291">
              <a:extLst>
                <a:ext uri="{FF2B5EF4-FFF2-40B4-BE49-F238E27FC236}">
                  <a16:creationId xmlns:a16="http://schemas.microsoft.com/office/drawing/2014/main" id="{67963C65-DF64-4484-AC2A-8AC4E8118C5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352104" y="1156208"/>
              <a:ext cx="108808" cy="108008"/>
            </a:xfrm>
            <a:custGeom>
              <a:avLst/>
              <a:gdLst>
                <a:gd name="T0" fmla="*/ 67 w 136"/>
                <a:gd name="T1" fmla="*/ 0 h 135"/>
                <a:gd name="T2" fmla="*/ 92 w 136"/>
                <a:gd name="T3" fmla="*/ 6 h 135"/>
                <a:gd name="T4" fmla="*/ 116 w 136"/>
                <a:gd name="T5" fmla="*/ 20 h 135"/>
                <a:gd name="T6" fmla="*/ 130 w 136"/>
                <a:gd name="T7" fmla="*/ 40 h 135"/>
                <a:gd name="T8" fmla="*/ 136 w 136"/>
                <a:gd name="T9" fmla="*/ 66 h 135"/>
                <a:gd name="T10" fmla="*/ 130 w 136"/>
                <a:gd name="T11" fmla="*/ 92 h 135"/>
                <a:gd name="T12" fmla="*/ 116 w 136"/>
                <a:gd name="T13" fmla="*/ 115 h 135"/>
                <a:gd name="T14" fmla="*/ 95 w 136"/>
                <a:gd name="T15" fmla="*/ 130 h 135"/>
                <a:gd name="T16" fmla="*/ 69 w 136"/>
                <a:gd name="T17" fmla="*/ 135 h 135"/>
                <a:gd name="T18" fmla="*/ 43 w 136"/>
                <a:gd name="T19" fmla="*/ 130 h 135"/>
                <a:gd name="T20" fmla="*/ 20 w 136"/>
                <a:gd name="T21" fmla="*/ 115 h 135"/>
                <a:gd name="T22" fmla="*/ 6 w 136"/>
                <a:gd name="T23" fmla="*/ 95 h 135"/>
                <a:gd name="T24" fmla="*/ 0 w 136"/>
                <a:gd name="T25" fmla="*/ 69 h 135"/>
                <a:gd name="T26" fmla="*/ 6 w 136"/>
                <a:gd name="T27" fmla="*/ 43 h 135"/>
                <a:gd name="T28" fmla="*/ 20 w 136"/>
                <a:gd name="T29" fmla="*/ 20 h 135"/>
                <a:gd name="T30" fmla="*/ 41 w 136"/>
                <a:gd name="T31" fmla="*/ 6 h 135"/>
                <a:gd name="T32" fmla="*/ 67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7" y="0"/>
                  </a:moveTo>
                  <a:lnTo>
                    <a:pt x="92" y="6"/>
                  </a:lnTo>
                  <a:lnTo>
                    <a:pt x="116" y="20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0" y="92"/>
                  </a:lnTo>
                  <a:lnTo>
                    <a:pt x="116" y="115"/>
                  </a:lnTo>
                  <a:lnTo>
                    <a:pt x="95" y="130"/>
                  </a:lnTo>
                  <a:lnTo>
                    <a:pt x="69" y="135"/>
                  </a:lnTo>
                  <a:lnTo>
                    <a:pt x="43" y="130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3" name="Freeform 292">
              <a:extLst>
                <a:ext uri="{FF2B5EF4-FFF2-40B4-BE49-F238E27FC236}">
                  <a16:creationId xmlns:a16="http://schemas.microsoft.com/office/drawing/2014/main" id="{BB06861B-3AAA-4376-906F-42217EBC852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785735" y="639371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0 w 219"/>
                <a:gd name="T3" fmla="*/ 6 h 219"/>
                <a:gd name="T4" fmla="*/ 181 w 219"/>
                <a:gd name="T5" fmla="*/ 26 h 219"/>
                <a:gd name="T6" fmla="*/ 204 w 219"/>
                <a:gd name="T7" fmla="*/ 52 h 219"/>
                <a:gd name="T8" fmla="*/ 216 w 219"/>
                <a:gd name="T9" fmla="*/ 81 h 219"/>
                <a:gd name="T10" fmla="*/ 219 w 219"/>
                <a:gd name="T11" fmla="*/ 115 h 219"/>
                <a:gd name="T12" fmla="*/ 213 w 219"/>
                <a:gd name="T13" fmla="*/ 150 h 219"/>
                <a:gd name="T14" fmla="*/ 193 w 219"/>
                <a:gd name="T15" fmla="*/ 179 h 219"/>
                <a:gd name="T16" fmla="*/ 167 w 219"/>
                <a:gd name="T17" fmla="*/ 202 h 219"/>
                <a:gd name="T18" fmla="*/ 138 w 219"/>
                <a:gd name="T19" fmla="*/ 213 h 219"/>
                <a:gd name="T20" fmla="*/ 103 w 219"/>
                <a:gd name="T21" fmla="*/ 219 h 219"/>
                <a:gd name="T22" fmla="*/ 69 w 219"/>
                <a:gd name="T23" fmla="*/ 210 h 219"/>
                <a:gd name="T24" fmla="*/ 40 w 219"/>
                <a:gd name="T25" fmla="*/ 193 h 219"/>
                <a:gd name="T26" fmla="*/ 17 w 219"/>
                <a:gd name="T27" fmla="*/ 167 h 219"/>
                <a:gd name="T28" fmla="*/ 3 w 219"/>
                <a:gd name="T29" fmla="*/ 135 h 219"/>
                <a:gd name="T30" fmla="*/ 0 w 219"/>
                <a:gd name="T31" fmla="*/ 101 h 219"/>
                <a:gd name="T32" fmla="*/ 8 w 219"/>
                <a:gd name="T33" fmla="*/ 69 h 219"/>
                <a:gd name="T34" fmla="*/ 26 w 219"/>
                <a:gd name="T35" fmla="*/ 37 h 219"/>
                <a:gd name="T36" fmla="*/ 52 w 219"/>
                <a:gd name="T37" fmla="*/ 14 h 219"/>
                <a:gd name="T38" fmla="*/ 83 w 219"/>
                <a:gd name="T39" fmla="*/ 3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0" y="6"/>
                  </a:lnTo>
                  <a:lnTo>
                    <a:pt x="181" y="26"/>
                  </a:lnTo>
                  <a:lnTo>
                    <a:pt x="204" y="52"/>
                  </a:lnTo>
                  <a:lnTo>
                    <a:pt x="216" y="81"/>
                  </a:lnTo>
                  <a:lnTo>
                    <a:pt x="219" y="115"/>
                  </a:lnTo>
                  <a:lnTo>
                    <a:pt x="213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8" y="213"/>
                  </a:lnTo>
                  <a:lnTo>
                    <a:pt x="103" y="219"/>
                  </a:lnTo>
                  <a:lnTo>
                    <a:pt x="69" y="210"/>
                  </a:lnTo>
                  <a:lnTo>
                    <a:pt x="40" y="193"/>
                  </a:lnTo>
                  <a:lnTo>
                    <a:pt x="17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8" y="69"/>
                  </a:lnTo>
                  <a:lnTo>
                    <a:pt x="26" y="37"/>
                  </a:lnTo>
                  <a:lnTo>
                    <a:pt x="52" y="14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4" name="Freeform 293">
              <a:extLst>
                <a:ext uri="{FF2B5EF4-FFF2-40B4-BE49-F238E27FC236}">
                  <a16:creationId xmlns:a16="http://schemas.microsoft.com/office/drawing/2014/main" id="{C3100467-E141-4CB5-98E8-958CB09117D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960948" y="503361"/>
              <a:ext cx="175213" cy="172813"/>
            </a:xfrm>
            <a:custGeom>
              <a:avLst/>
              <a:gdLst>
                <a:gd name="T0" fmla="*/ 115 w 219"/>
                <a:gd name="T1" fmla="*/ 0 h 216"/>
                <a:gd name="T2" fmla="*/ 149 w 219"/>
                <a:gd name="T3" fmla="*/ 6 h 216"/>
                <a:gd name="T4" fmla="*/ 178 w 219"/>
                <a:gd name="T5" fmla="*/ 26 h 216"/>
                <a:gd name="T6" fmla="*/ 201 w 219"/>
                <a:gd name="T7" fmla="*/ 49 h 216"/>
                <a:gd name="T8" fmla="*/ 216 w 219"/>
                <a:gd name="T9" fmla="*/ 81 h 216"/>
                <a:gd name="T10" fmla="*/ 219 w 219"/>
                <a:gd name="T11" fmla="*/ 115 h 216"/>
                <a:gd name="T12" fmla="*/ 210 w 219"/>
                <a:gd name="T13" fmla="*/ 147 h 216"/>
                <a:gd name="T14" fmla="*/ 193 w 219"/>
                <a:gd name="T15" fmla="*/ 178 h 216"/>
                <a:gd name="T16" fmla="*/ 167 w 219"/>
                <a:gd name="T17" fmla="*/ 202 h 216"/>
                <a:gd name="T18" fmla="*/ 135 w 219"/>
                <a:gd name="T19" fmla="*/ 213 h 216"/>
                <a:gd name="T20" fmla="*/ 100 w 219"/>
                <a:gd name="T21" fmla="*/ 216 h 216"/>
                <a:gd name="T22" fmla="*/ 66 w 219"/>
                <a:gd name="T23" fmla="*/ 207 h 216"/>
                <a:gd name="T24" fmla="*/ 37 w 219"/>
                <a:gd name="T25" fmla="*/ 190 h 216"/>
                <a:gd name="T26" fmla="*/ 14 w 219"/>
                <a:gd name="T27" fmla="*/ 164 h 216"/>
                <a:gd name="T28" fmla="*/ 2 w 219"/>
                <a:gd name="T29" fmla="*/ 135 h 216"/>
                <a:gd name="T30" fmla="*/ 0 w 219"/>
                <a:gd name="T31" fmla="*/ 101 h 216"/>
                <a:gd name="T32" fmla="*/ 5 w 219"/>
                <a:gd name="T33" fmla="*/ 66 h 216"/>
                <a:gd name="T34" fmla="*/ 26 w 219"/>
                <a:gd name="T35" fmla="*/ 37 h 216"/>
                <a:gd name="T36" fmla="*/ 51 w 219"/>
                <a:gd name="T37" fmla="*/ 14 h 216"/>
                <a:gd name="T38" fmla="*/ 80 w 219"/>
                <a:gd name="T39" fmla="*/ 3 h 216"/>
                <a:gd name="T40" fmla="*/ 115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5" y="0"/>
                  </a:moveTo>
                  <a:lnTo>
                    <a:pt x="149" y="6"/>
                  </a:lnTo>
                  <a:lnTo>
                    <a:pt x="178" y="26"/>
                  </a:lnTo>
                  <a:lnTo>
                    <a:pt x="201" y="49"/>
                  </a:lnTo>
                  <a:lnTo>
                    <a:pt x="216" y="81"/>
                  </a:lnTo>
                  <a:lnTo>
                    <a:pt x="219" y="115"/>
                  </a:lnTo>
                  <a:lnTo>
                    <a:pt x="210" y="147"/>
                  </a:lnTo>
                  <a:lnTo>
                    <a:pt x="193" y="178"/>
                  </a:lnTo>
                  <a:lnTo>
                    <a:pt x="167" y="202"/>
                  </a:lnTo>
                  <a:lnTo>
                    <a:pt x="135" y="213"/>
                  </a:lnTo>
                  <a:lnTo>
                    <a:pt x="100" y="216"/>
                  </a:lnTo>
                  <a:lnTo>
                    <a:pt x="66" y="207"/>
                  </a:lnTo>
                  <a:lnTo>
                    <a:pt x="37" y="190"/>
                  </a:lnTo>
                  <a:lnTo>
                    <a:pt x="14" y="164"/>
                  </a:lnTo>
                  <a:lnTo>
                    <a:pt x="2" y="135"/>
                  </a:lnTo>
                  <a:lnTo>
                    <a:pt x="0" y="101"/>
                  </a:lnTo>
                  <a:lnTo>
                    <a:pt x="5" y="66"/>
                  </a:lnTo>
                  <a:lnTo>
                    <a:pt x="26" y="37"/>
                  </a:lnTo>
                  <a:lnTo>
                    <a:pt x="51" y="14"/>
                  </a:lnTo>
                  <a:lnTo>
                    <a:pt x="80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5" name="Freeform 294">
              <a:extLst>
                <a:ext uri="{FF2B5EF4-FFF2-40B4-BE49-F238E27FC236}">
                  <a16:creationId xmlns:a16="http://schemas.microsoft.com/office/drawing/2014/main" id="{746BD0C7-F844-42B2-8782-3DA95A175AC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341776" y="265744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8 h 219"/>
                <a:gd name="T4" fmla="*/ 179 w 219"/>
                <a:gd name="T5" fmla="*/ 26 h 219"/>
                <a:gd name="T6" fmla="*/ 202 w 219"/>
                <a:gd name="T7" fmla="*/ 52 h 219"/>
                <a:gd name="T8" fmla="*/ 216 w 219"/>
                <a:gd name="T9" fmla="*/ 83 h 219"/>
                <a:gd name="T10" fmla="*/ 219 w 219"/>
                <a:gd name="T11" fmla="*/ 115 h 219"/>
                <a:gd name="T12" fmla="*/ 210 w 219"/>
                <a:gd name="T13" fmla="*/ 150 h 219"/>
                <a:gd name="T14" fmla="*/ 193 w 219"/>
                <a:gd name="T15" fmla="*/ 181 h 219"/>
                <a:gd name="T16" fmla="*/ 167 w 219"/>
                <a:gd name="T17" fmla="*/ 202 h 219"/>
                <a:gd name="T18" fmla="*/ 135 w 219"/>
                <a:gd name="T19" fmla="*/ 216 h 219"/>
                <a:gd name="T20" fmla="*/ 101 w 219"/>
                <a:gd name="T21" fmla="*/ 219 h 219"/>
                <a:gd name="T22" fmla="*/ 69 w 219"/>
                <a:gd name="T23" fmla="*/ 210 h 219"/>
                <a:gd name="T24" fmla="*/ 37 w 219"/>
                <a:gd name="T25" fmla="*/ 193 h 219"/>
                <a:gd name="T26" fmla="*/ 17 w 219"/>
                <a:gd name="T27" fmla="*/ 167 h 219"/>
                <a:gd name="T28" fmla="*/ 3 w 219"/>
                <a:gd name="T29" fmla="*/ 135 h 219"/>
                <a:gd name="T30" fmla="*/ 0 w 219"/>
                <a:gd name="T31" fmla="*/ 104 h 219"/>
                <a:gd name="T32" fmla="*/ 9 w 219"/>
                <a:gd name="T33" fmla="*/ 69 h 219"/>
                <a:gd name="T34" fmla="*/ 26 w 219"/>
                <a:gd name="T35" fmla="*/ 37 h 219"/>
                <a:gd name="T36" fmla="*/ 52 w 219"/>
                <a:gd name="T37" fmla="*/ 17 h 219"/>
                <a:gd name="T38" fmla="*/ 81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8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6" y="83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81"/>
                  </a:lnTo>
                  <a:lnTo>
                    <a:pt x="167" y="202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9" y="210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3" y="135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6" name="Freeform 295">
              <a:extLst>
                <a:ext uri="{FF2B5EF4-FFF2-40B4-BE49-F238E27FC236}">
                  <a16:creationId xmlns:a16="http://schemas.microsoft.com/office/drawing/2014/main" id="{374B2221-91C7-4EA0-9BC1-E3C86686DE8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544991" y="166536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50 w 216"/>
                <a:gd name="T3" fmla="*/ 8 h 219"/>
                <a:gd name="T4" fmla="*/ 179 w 216"/>
                <a:gd name="T5" fmla="*/ 26 h 219"/>
                <a:gd name="T6" fmla="*/ 202 w 216"/>
                <a:gd name="T7" fmla="*/ 52 h 219"/>
                <a:gd name="T8" fmla="*/ 213 w 216"/>
                <a:gd name="T9" fmla="*/ 80 h 219"/>
                <a:gd name="T10" fmla="*/ 216 w 216"/>
                <a:gd name="T11" fmla="*/ 115 h 219"/>
                <a:gd name="T12" fmla="*/ 211 w 216"/>
                <a:gd name="T13" fmla="*/ 150 h 219"/>
                <a:gd name="T14" fmla="*/ 190 w 216"/>
                <a:gd name="T15" fmla="*/ 178 h 219"/>
                <a:gd name="T16" fmla="*/ 164 w 216"/>
                <a:gd name="T17" fmla="*/ 201 h 219"/>
                <a:gd name="T18" fmla="*/ 136 w 216"/>
                <a:gd name="T19" fmla="*/ 216 h 219"/>
                <a:gd name="T20" fmla="*/ 101 w 216"/>
                <a:gd name="T21" fmla="*/ 219 h 219"/>
                <a:gd name="T22" fmla="*/ 66 w 216"/>
                <a:gd name="T23" fmla="*/ 210 h 219"/>
                <a:gd name="T24" fmla="*/ 38 w 216"/>
                <a:gd name="T25" fmla="*/ 193 h 219"/>
                <a:gd name="T26" fmla="*/ 14 w 216"/>
                <a:gd name="T27" fmla="*/ 167 h 219"/>
                <a:gd name="T28" fmla="*/ 3 w 216"/>
                <a:gd name="T29" fmla="*/ 135 h 219"/>
                <a:gd name="T30" fmla="*/ 0 w 216"/>
                <a:gd name="T31" fmla="*/ 101 h 219"/>
                <a:gd name="T32" fmla="*/ 6 w 216"/>
                <a:gd name="T33" fmla="*/ 66 h 219"/>
                <a:gd name="T34" fmla="*/ 26 w 216"/>
                <a:gd name="T35" fmla="*/ 37 h 219"/>
                <a:gd name="T36" fmla="*/ 49 w 216"/>
                <a:gd name="T37" fmla="*/ 14 h 219"/>
                <a:gd name="T38" fmla="*/ 81 w 216"/>
                <a:gd name="T39" fmla="*/ 3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50" y="8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3" y="80"/>
                  </a:lnTo>
                  <a:lnTo>
                    <a:pt x="216" y="115"/>
                  </a:lnTo>
                  <a:lnTo>
                    <a:pt x="211" y="150"/>
                  </a:lnTo>
                  <a:lnTo>
                    <a:pt x="190" y="178"/>
                  </a:lnTo>
                  <a:lnTo>
                    <a:pt x="164" y="201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6" y="210"/>
                  </a:lnTo>
                  <a:lnTo>
                    <a:pt x="38" y="193"/>
                  </a:lnTo>
                  <a:lnTo>
                    <a:pt x="14" y="167"/>
                  </a:lnTo>
                  <a:lnTo>
                    <a:pt x="3" y="135"/>
                  </a:lnTo>
                  <a:lnTo>
                    <a:pt x="0" y="101"/>
                  </a:lnTo>
                  <a:lnTo>
                    <a:pt x="6" y="66"/>
                  </a:lnTo>
                  <a:lnTo>
                    <a:pt x="26" y="37"/>
                  </a:lnTo>
                  <a:lnTo>
                    <a:pt x="49" y="14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7" name="Freeform 296">
              <a:extLst>
                <a:ext uri="{FF2B5EF4-FFF2-40B4-BE49-F238E27FC236}">
                  <a16:creationId xmlns:a16="http://schemas.microsoft.com/office/drawing/2014/main" id="{4F4EB62C-0A00-449D-BA72-539532B0513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183437" y="-38279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49 w 216"/>
                <a:gd name="T3" fmla="*/ 9 h 219"/>
                <a:gd name="T4" fmla="*/ 178 w 216"/>
                <a:gd name="T5" fmla="*/ 26 h 219"/>
                <a:gd name="T6" fmla="*/ 201 w 216"/>
                <a:gd name="T7" fmla="*/ 52 h 219"/>
                <a:gd name="T8" fmla="*/ 213 w 216"/>
                <a:gd name="T9" fmla="*/ 84 h 219"/>
                <a:gd name="T10" fmla="*/ 216 w 216"/>
                <a:gd name="T11" fmla="*/ 118 h 219"/>
                <a:gd name="T12" fmla="*/ 210 w 216"/>
                <a:gd name="T13" fmla="*/ 150 h 219"/>
                <a:gd name="T14" fmla="*/ 190 w 216"/>
                <a:gd name="T15" fmla="*/ 182 h 219"/>
                <a:gd name="T16" fmla="*/ 167 w 216"/>
                <a:gd name="T17" fmla="*/ 205 h 219"/>
                <a:gd name="T18" fmla="*/ 135 w 216"/>
                <a:gd name="T19" fmla="*/ 216 h 219"/>
                <a:gd name="T20" fmla="*/ 100 w 216"/>
                <a:gd name="T21" fmla="*/ 219 h 219"/>
                <a:gd name="T22" fmla="*/ 66 w 216"/>
                <a:gd name="T23" fmla="*/ 213 h 219"/>
                <a:gd name="T24" fmla="*/ 37 w 216"/>
                <a:gd name="T25" fmla="*/ 193 h 219"/>
                <a:gd name="T26" fmla="*/ 14 w 216"/>
                <a:gd name="T27" fmla="*/ 167 h 219"/>
                <a:gd name="T28" fmla="*/ 2 w 216"/>
                <a:gd name="T29" fmla="*/ 139 h 219"/>
                <a:gd name="T30" fmla="*/ 0 w 216"/>
                <a:gd name="T31" fmla="*/ 104 h 219"/>
                <a:gd name="T32" fmla="*/ 5 w 216"/>
                <a:gd name="T33" fmla="*/ 69 h 219"/>
                <a:gd name="T34" fmla="*/ 25 w 216"/>
                <a:gd name="T35" fmla="*/ 41 h 219"/>
                <a:gd name="T36" fmla="*/ 49 w 216"/>
                <a:gd name="T37" fmla="*/ 18 h 219"/>
                <a:gd name="T38" fmla="*/ 80 w 216"/>
                <a:gd name="T39" fmla="*/ 3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49" y="9"/>
                  </a:lnTo>
                  <a:lnTo>
                    <a:pt x="178" y="26"/>
                  </a:lnTo>
                  <a:lnTo>
                    <a:pt x="201" y="52"/>
                  </a:lnTo>
                  <a:lnTo>
                    <a:pt x="213" y="84"/>
                  </a:lnTo>
                  <a:lnTo>
                    <a:pt x="216" y="118"/>
                  </a:lnTo>
                  <a:lnTo>
                    <a:pt x="210" y="150"/>
                  </a:lnTo>
                  <a:lnTo>
                    <a:pt x="190" y="182"/>
                  </a:lnTo>
                  <a:lnTo>
                    <a:pt x="167" y="205"/>
                  </a:lnTo>
                  <a:lnTo>
                    <a:pt x="135" y="216"/>
                  </a:lnTo>
                  <a:lnTo>
                    <a:pt x="100" y="219"/>
                  </a:lnTo>
                  <a:lnTo>
                    <a:pt x="66" y="213"/>
                  </a:lnTo>
                  <a:lnTo>
                    <a:pt x="37" y="193"/>
                  </a:lnTo>
                  <a:lnTo>
                    <a:pt x="14" y="167"/>
                  </a:lnTo>
                  <a:lnTo>
                    <a:pt x="2" y="139"/>
                  </a:lnTo>
                  <a:lnTo>
                    <a:pt x="0" y="104"/>
                  </a:lnTo>
                  <a:lnTo>
                    <a:pt x="5" y="69"/>
                  </a:lnTo>
                  <a:lnTo>
                    <a:pt x="25" y="41"/>
                  </a:lnTo>
                  <a:lnTo>
                    <a:pt x="49" y="18"/>
                  </a:lnTo>
                  <a:lnTo>
                    <a:pt x="80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8" name="Freeform 297">
              <a:extLst>
                <a:ext uri="{FF2B5EF4-FFF2-40B4-BE49-F238E27FC236}">
                  <a16:creationId xmlns:a16="http://schemas.microsoft.com/office/drawing/2014/main" id="{8B2E8057-7914-4312-861C-5A1E7464006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402653" y="-77482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79 w 219"/>
                <a:gd name="T5" fmla="*/ 26 h 219"/>
                <a:gd name="T6" fmla="*/ 202 w 219"/>
                <a:gd name="T7" fmla="*/ 52 h 219"/>
                <a:gd name="T8" fmla="*/ 216 w 219"/>
                <a:gd name="T9" fmla="*/ 84 h 219"/>
                <a:gd name="T10" fmla="*/ 219 w 219"/>
                <a:gd name="T11" fmla="*/ 115 h 219"/>
                <a:gd name="T12" fmla="*/ 210 w 219"/>
                <a:gd name="T13" fmla="*/ 150 h 219"/>
                <a:gd name="T14" fmla="*/ 193 w 219"/>
                <a:gd name="T15" fmla="*/ 182 h 219"/>
                <a:gd name="T16" fmla="*/ 167 w 219"/>
                <a:gd name="T17" fmla="*/ 202 h 219"/>
                <a:gd name="T18" fmla="*/ 135 w 219"/>
                <a:gd name="T19" fmla="*/ 216 h 219"/>
                <a:gd name="T20" fmla="*/ 101 w 219"/>
                <a:gd name="T21" fmla="*/ 219 h 219"/>
                <a:gd name="T22" fmla="*/ 66 w 219"/>
                <a:gd name="T23" fmla="*/ 211 h 219"/>
                <a:gd name="T24" fmla="*/ 37 w 219"/>
                <a:gd name="T25" fmla="*/ 193 h 219"/>
                <a:gd name="T26" fmla="*/ 17 w 219"/>
                <a:gd name="T27" fmla="*/ 167 h 219"/>
                <a:gd name="T28" fmla="*/ 3 w 219"/>
                <a:gd name="T29" fmla="*/ 136 h 219"/>
                <a:gd name="T30" fmla="*/ 0 w 219"/>
                <a:gd name="T31" fmla="*/ 104 h 219"/>
                <a:gd name="T32" fmla="*/ 8 w 219"/>
                <a:gd name="T33" fmla="*/ 69 h 219"/>
                <a:gd name="T34" fmla="*/ 26 w 219"/>
                <a:gd name="T35" fmla="*/ 38 h 219"/>
                <a:gd name="T36" fmla="*/ 52 w 219"/>
                <a:gd name="T37" fmla="*/ 18 h 219"/>
                <a:gd name="T38" fmla="*/ 83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6" y="84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6" y="211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8" y="69"/>
                  </a:lnTo>
                  <a:lnTo>
                    <a:pt x="26" y="38"/>
                  </a:lnTo>
                  <a:lnTo>
                    <a:pt x="52" y="18"/>
                  </a:lnTo>
                  <a:lnTo>
                    <a:pt x="83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9" name="Freeform 298">
              <a:extLst>
                <a:ext uri="{FF2B5EF4-FFF2-40B4-BE49-F238E27FC236}">
                  <a16:creationId xmlns:a16="http://schemas.microsoft.com/office/drawing/2014/main" id="{CB6D76EF-29E5-48DA-B054-F842102D899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2073902" y="-100683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82 w 219"/>
                <a:gd name="T5" fmla="*/ 26 h 219"/>
                <a:gd name="T6" fmla="*/ 202 w 219"/>
                <a:gd name="T7" fmla="*/ 52 h 219"/>
                <a:gd name="T8" fmla="*/ 216 w 219"/>
                <a:gd name="T9" fmla="*/ 84 h 219"/>
                <a:gd name="T10" fmla="*/ 219 w 219"/>
                <a:gd name="T11" fmla="*/ 115 h 219"/>
                <a:gd name="T12" fmla="*/ 210 w 219"/>
                <a:gd name="T13" fmla="*/ 150 h 219"/>
                <a:gd name="T14" fmla="*/ 193 w 219"/>
                <a:gd name="T15" fmla="*/ 182 h 219"/>
                <a:gd name="T16" fmla="*/ 167 w 219"/>
                <a:gd name="T17" fmla="*/ 202 h 219"/>
                <a:gd name="T18" fmla="*/ 135 w 219"/>
                <a:gd name="T19" fmla="*/ 216 h 219"/>
                <a:gd name="T20" fmla="*/ 101 w 219"/>
                <a:gd name="T21" fmla="*/ 219 h 219"/>
                <a:gd name="T22" fmla="*/ 69 w 219"/>
                <a:gd name="T23" fmla="*/ 210 h 219"/>
                <a:gd name="T24" fmla="*/ 37 w 219"/>
                <a:gd name="T25" fmla="*/ 193 h 219"/>
                <a:gd name="T26" fmla="*/ 17 w 219"/>
                <a:gd name="T27" fmla="*/ 167 h 219"/>
                <a:gd name="T28" fmla="*/ 3 w 219"/>
                <a:gd name="T29" fmla="*/ 135 h 219"/>
                <a:gd name="T30" fmla="*/ 0 w 219"/>
                <a:gd name="T31" fmla="*/ 104 h 219"/>
                <a:gd name="T32" fmla="*/ 9 w 219"/>
                <a:gd name="T33" fmla="*/ 69 h 219"/>
                <a:gd name="T34" fmla="*/ 26 w 219"/>
                <a:gd name="T35" fmla="*/ 38 h 219"/>
                <a:gd name="T36" fmla="*/ 52 w 219"/>
                <a:gd name="T37" fmla="*/ 17 h 219"/>
                <a:gd name="T38" fmla="*/ 83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4"/>
                  </a:lnTo>
                  <a:lnTo>
                    <a:pt x="219" y="115"/>
                  </a:lnTo>
                  <a:lnTo>
                    <a:pt x="210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9" y="210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3" y="135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38"/>
                  </a:lnTo>
                  <a:lnTo>
                    <a:pt x="52" y="17"/>
                  </a:lnTo>
                  <a:lnTo>
                    <a:pt x="83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0" name="Freeform 299">
              <a:extLst>
                <a:ext uri="{FF2B5EF4-FFF2-40B4-BE49-F238E27FC236}">
                  <a16:creationId xmlns:a16="http://schemas.microsoft.com/office/drawing/2014/main" id="{9D57D776-D624-4290-B80B-3EC3DCB3C7B0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843485" y="6311784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79 w 219"/>
                <a:gd name="T5" fmla="*/ 26 h 219"/>
                <a:gd name="T6" fmla="*/ 202 w 219"/>
                <a:gd name="T7" fmla="*/ 52 h 219"/>
                <a:gd name="T8" fmla="*/ 216 w 219"/>
                <a:gd name="T9" fmla="*/ 83 h 219"/>
                <a:gd name="T10" fmla="*/ 219 w 219"/>
                <a:gd name="T11" fmla="*/ 118 h 219"/>
                <a:gd name="T12" fmla="*/ 211 w 219"/>
                <a:gd name="T13" fmla="*/ 150 h 219"/>
                <a:gd name="T14" fmla="*/ 193 w 219"/>
                <a:gd name="T15" fmla="*/ 181 h 219"/>
                <a:gd name="T16" fmla="*/ 167 w 219"/>
                <a:gd name="T17" fmla="*/ 202 h 219"/>
                <a:gd name="T18" fmla="*/ 136 w 219"/>
                <a:gd name="T19" fmla="*/ 216 h 219"/>
                <a:gd name="T20" fmla="*/ 101 w 219"/>
                <a:gd name="T21" fmla="*/ 219 h 219"/>
                <a:gd name="T22" fmla="*/ 69 w 219"/>
                <a:gd name="T23" fmla="*/ 210 h 219"/>
                <a:gd name="T24" fmla="*/ 38 w 219"/>
                <a:gd name="T25" fmla="*/ 193 h 219"/>
                <a:gd name="T26" fmla="*/ 17 w 219"/>
                <a:gd name="T27" fmla="*/ 167 h 219"/>
                <a:gd name="T28" fmla="*/ 3 w 219"/>
                <a:gd name="T29" fmla="*/ 138 h 219"/>
                <a:gd name="T30" fmla="*/ 0 w 219"/>
                <a:gd name="T31" fmla="*/ 104 h 219"/>
                <a:gd name="T32" fmla="*/ 9 w 219"/>
                <a:gd name="T33" fmla="*/ 69 h 219"/>
                <a:gd name="T34" fmla="*/ 26 w 219"/>
                <a:gd name="T35" fmla="*/ 40 h 219"/>
                <a:gd name="T36" fmla="*/ 52 w 219"/>
                <a:gd name="T37" fmla="*/ 17 h 219"/>
                <a:gd name="T38" fmla="*/ 81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6" y="83"/>
                  </a:lnTo>
                  <a:lnTo>
                    <a:pt x="219" y="118"/>
                  </a:lnTo>
                  <a:lnTo>
                    <a:pt x="211" y="150"/>
                  </a:lnTo>
                  <a:lnTo>
                    <a:pt x="193" y="181"/>
                  </a:lnTo>
                  <a:lnTo>
                    <a:pt x="167" y="202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9" y="210"/>
                  </a:lnTo>
                  <a:lnTo>
                    <a:pt x="38" y="193"/>
                  </a:lnTo>
                  <a:lnTo>
                    <a:pt x="17" y="167"/>
                  </a:lnTo>
                  <a:lnTo>
                    <a:pt x="3" y="138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1" name="Freeform 300">
              <a:extLst>
                <a:ext uri="{FF2B5EF4-FFF2-40B4-BE49-F238E27FC236}">
                  <a16:creationId xmlns:a16="http://schemas.microsoft.com/office/drawing/2014/main" id="{2DF320D3-EF7C-4C22-8F19-1057D8D4300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651471" y="6337386"/>
              <a:ext cx="111208" cy="108008"/>
            </a:xfrm>
            <a:custGeom>
              <a:avLst/>
              <a:gdLst>
                <a:gd name="T0" fmla="*/ 69 w 139"/>
                <a:gd name="T1" fmla="*/ 0 h 135"/>
                <a:gd name="T2" fmla="*/ 95 w 139"/>
                <a:gd name="T3" fmla="*/ 5 h 135"/>
                <a:gd name="T4" fmla="*/ 118 w 139"/>
                <a:gd name="T5" fmla="*/ 20 h 135"/>
                <a:gd name="T6" fmla="*/ 133 w 139"/>
                <a:gd name="T7" fmla="*/ 43 h 135"/>
                <a:gd name="T8" fmla="*/ 139 w 139"/>
                <a:gd name="T9" fmla="*/ 66 h 135"/>
                <a:gd name="T10" fmla="*/ 133 w 139"/>
                <a:gd name="T11" fmla="*/ 92 h 135"/>
                <a:gd name="T12" fmla="*/ 118 w 139"/>
                <a:gd name="T13" fmla="*/ 115 h 135"/>
                <a:gd name="T14" fmla="*/ 95 w 139"/>
                <a:gd name="T15" fmla="*/ 129 h 135"/>
                <a:gd name="T16" fmla="*/ 69 w 139"/>
                <a:gd name="T17" fmla="*/ 135 h 135"/>
                <a:gd name="T18" fmla="*/ 43 w 139"/>
                <a:gd name="T19" fmla="*/ 132 h 135"/>
                <a:gd name="T20" fmla="*/ 20 w 139"/>
                <a:gd name="T21" fmla="*/ 115 h 135"/>
                <a:gd name="T22" fmla="*/ 6 w 139"/>
                <a:gd name="T23" fmla="*/ 95 h 135"/>
                <a:gd name="T24" fmla="*/ 0 w 139"/>
                <a:gd name="T25" fmla="*/ 69 h 135"/>
                <a:gd name="T26" fmla="*/ 6 w 139"/>
                <a:gd name="T27" fmla="*/ 43 h 135"/>
                <a:gd name="T28" fmla="*/ 20 w 139"/>
                <a:gd name="T29" fmla="*/ 20 h 135"/>
                <a:gd name="T30" fmla="*/ 43 w 139"/>
                <a:gd name="T31" fmla="*/ 5 h 135"/>
                <a:gd name="T32" fmla="*/ 69 w 139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5">
                  <a:moveTo>
                    <a:pt x="69" y="0"/>
                  </a:moveTo>
                  <a:lnTo>
                    <a:pt x="95" y="5"/>
                  </a:lnTo>
                  <a:lnTo>
                    <a:pt x="118" y="20"/>
                  </a:lnTo>
                  <a:lnTo>
                    <a:pt x="133" y="43"/>
                  </a:lnTo>
                  <a:lnTo>
                    <a:pt x="139" y="66"/>
                  </a:lnTo>
                  <a:lnTo>
                    <a:pt x="133" y="92"/>
                  </a:lnTo>
                  <a:lnTo>
                    <a:pt x="118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3" y="132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5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2" name="Freeform 301">
              <a:extLst>
                <a:ext uri="{FF2B5EF4-FFF2-40B4-BE49-F238E27FC236}">
                  <a16:creationId xmlns:a16="http://schemas.microsoft.com/office/drawing/2014/main" id="{F5834091-3A13-4726-95AF-63CFC796E3D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397852" y="6279782"/>
              <a:ext cx="173613" cy="175213"/>
            </a:xfrm>
            <a:custGeom>
              <a:avLst/>
              <a:gdLst>
                <a:gd name="T0" fmla="*/ 116 w 217"/>
                <a:gd name="T1" fmla="*/ 0 h 219"/>
                <a:gd name="T2" fmla="*/ 150 w 217"/>
                <a:gd name="T3" fmla="*/ 9 h 219"/>
                <a:gd name="T4" fmla="*/ 179 w 217"/>
                <a:gd name="T5" fmla="*/ 26 h 219"/>
                <a:gd name="T6" fmla="*/ 202 w 217"/>
                <a:gd name="T7" fmla="*/ 52 h 219"/>
                <a:gd name="T8" fmla="*/ 214 w 217"/>
                <a:gd name="T9" fmla="*/ 84 h 219"/>
                <a:gd name="T10" fmla="*/ 217 w 217"/>
                <a:gd name="T11" fmla="*/ 115 h 219"/>
                <a:gd name="T12" fmla="*/ 211 w 217"/>
                <a:gd name="T13" fmla="*/ 150 h 219"/>
                <a:gd name="T14" fmla="*/ 194 w 217"/>
                <a:gd name="T15" fmla="*/ 182 h 219"/>
                <a:gd name="T16" fmla="*/ 168 w 217"/>
                <a:gd name="T17" fmla="*/ 202 h 219"/>
                <a:gd name="T18" fmla="*/ 136 w 217"/>
                <a:gd name="T19" fmla="*/ 216 h 219"/>
                <a:gd name="T20" fmla="*/ 101 w 217"/>
                <a:gd name="T21" fmla="*/ 219 h 219"/>
                <a:gd name="T22" fmla="*/ 67 w 217"/>
                <a:gd name="T23" fmla="*/ 211 h 219"/>
                <a:gd name="T24" fmla="*/ 38 w 217"/>
                <a:gd name="T25" fmla="*/ 193 h 219"/>
                <a:gd name="T26" fmla="*/ 15 w 217"/>
                <a:gd name="T27" fmla="*/ 167 h 219"/>
                <a:gd name="T28" fmla="*/ 3 w 217"/>
                <a:gd name="T29" fmla="*/ 136 h 219"/>
                <a:gd name="T30" fmla="*/ 0 w 217"/>
                <a:gd name="T31" fmla="*/ 104 h 219"/>
                <a:gd name="T32" fmla="*/ 6 w 217"/>
                <a:gd name="T33" fmla="*/ 69 h 219"/>
                <a:gd name="T34" fmla="*/ 26 w 217"/>
                <a:gd name="T35" fmla="*/ 38 h 219"/>
                <a:gd name="T36" fmla="*/ 52 w 217"/>
                <a:gd name="T37" fmla="*/ 17 h 219"/>
                <a:gd name="T38" fmla="*/ 81 w 217"/>
                <a:gd name="T39" fmla="*/ 3 h 219"/>
                <a:gd name="T40" fmla="*/ 116 w 217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7" h="219">
                  <a:moveTo>
                    <a:pt x="116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4" y="84"/>
                  </a:lnTo>
                  <a:lnTo>
                    <a:pt x="217" y="115"/>
                  </a:lnTo>
                  <a:lnTo>
                    <a:pt x="211" y="150"/>
                  </a:lnTo>
                  <a:lnTo>
                    <a:pt x="194" y="182"/>
                  </a:lnTo>
                  <a:lnTo>
                    <a:pt x="168" y="202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7" y="211"/>
                  </a:lnTo>
                  <a:lnTo>
                    <a:pt x="38" y="193"/>
                  </a:lnTo>
                  <a:lnTo>
                    <a:pt x="15" y="167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6" y="69"/>
                  </a:lnTo>
                  <a:lnTo>
                    <a:pt x="26" y="38"/>
                  </a:lnTo>
                  <a:lnTo>
                    <a:pt x="52" y="17"/>
                  </a:lnTo>
                  <a:lnTo>
                    <a:pt x="81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3" name="Freeform 302">
              <a:extLst>
                <a:ext uri="{FF2B5EF4-FFF2-40B4-BE49-F238E27FC236}">
                  <a16:creationId xmlns:a16="http://schemas.microsoft.com/office/drawing/2014/main" id="{AE813C6C-669D-4EF4-A2B8-94D4D6ACA15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960221" y="6185375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50 w 216"/>
                <a:gd name="T3" fmla="*/ 6 h 219"/>
                <a:gd name="T4" fmla="*/ 179 w 216"/>
                <a:gd name="T5" fmla="*/ 26 h 219"/>
                <a:gd name="T6" fmla="*/ 202 w 216"/>
                <a:gd name="T7" fmla="*/ 52 h 219"/>
                <a:gd name="T8" fmla="*/ 214 w 216"/>
                <a:gd name="T9" fmla="*/ 81 h 219"/>
                <a:gd name="T10" fmla="*/ 216 w 216"/>
                <a:gd name="T11" fmla="*/ 116 h 219"/>
                <a:gd name="T12" fmla="*/ 211 w 216"/>
                <a:gd name="T13" fmla="*/ 150 h 219"/>
                <a:gd name="T14" fmla="*/ 190 w 216"/>
                <a:gd name="T15" fmla="*/ 179 h 219"/>
                <a:gd name="T16" fmla="*/ 164 w 216"/>
                <a:gd name="T17" fmla="*/ 202 h 219"/>
                <a:gd name="T18" fmla="*/ 136 w 216"/>
                <a:gd name="T19" fmla="*/ 214 h 219"/>
                <a:gd name="T20" fmla="*/ 101 w 216"/>
                <a:gd name="T21" fmla="*/ 219 h 219"/>
                <a:gd name="T22" fmla="*/ 66 w 216"/>
                <a:gd name="T23" fmla="*/ 211 h 219"/>
                <a:gd name="T24" fmla="*/ 38 w 216"/>
                <a:gd name="T25" fmla="*/ 193 h 219"/>
                <a:gd name="T26" fmla="*/ 15 w 216"/>
                <a:gd name="T27" fmla="*/ 168 h 219"/>
                <a:gd name="T28" fmla="*/ 3 w 216"/>
                <a:gd name="T29" fmla="*/ 136 h 219"/>
                <a:gd name="T30" fmla="*/ 0 w 216"/>
                <a:gd name="T31" fmla="*/ 101 h 219"/>
                <a:gd name="T32" fmla="*/ 6 w 216"/>
                <a:gd name="T33" fmla="*/ 67 h 219"/>
                <a:gd name="T34" fmla="*/ 26 w 216"/>
                <a:gd name="T35" fmla="*/ 38 h 219"/>
                <a:gd name="T36" fmla="*/ 52 w 216"/>
                <a:gd name="T37" fmla="*/ 15 h 219"/>
                <a:gd name="T38" fmla="*/ 81 w 216"/>
                <a:gd name="T39" fmla="*/ 3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50" y="6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4" y="81"/>
                  </a:lnTo>
                  <a:lnTo>
                    <a:pt x="216" y="116"/>
                  </a:lnTo>
                  <a:lnTo>
                    <a:pt x="211" y="150"/>
                  </a:lnTo>
                  <a:lnTo>
                    <a:pt x="190" y="179"/>
                  </a:lnTo>
                  <a:lnTo>
                    <a:pt x="164" y="202"/>
                  </a:lnTo>
                  <a:lnTo>
                    <a:pt x="136" y="214"/>
                  </a:lnTo>
                  <a:lnTo>
                    <a:pt x="101" y="219"/>
                  </a:lnTo>
                  <a:lnTo>
                    <a:pt x="66" y="211"/>
                  </a:lnTo>
                  <a:lnTo>
                    <a:pt x="38" y="193"/>
                  </a:lnTo>
                  <a:lnTo>
                    <a:pt x="15" y="168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6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4" name="Freeform 303">
              <a:extLst>
                <a:ext uri="{FF2B5EF4-FFF2-40B4-BE49-F238E27FC236}">
                  <a16:creationId xmlns:a16="http://schemas.microsoft.com/office/drawing/2014/main" id="{548B6248-4A52-4E81-9E80-8163F381E42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777808" y="6150173"/>
              <a:ext cx="110408" cy="108808"/>
            </a:xfrm>
            <a:custGeom>
              <a:avLst/>
              <a:gdLst>
                <a:gd name="T0" fmla="*/ 69 w 138"/>
                <a:gd name="T1" fmla="*/ 0 h 136"/>
                <a:gd name="T2" fmla="*/ 95 w 138"/>
                <a:gd name="T3" fmla="*/ 6 h 136"/>
                <a:gd name="T4" fmla="*/ 118 w 138"/>
                <a:gd name="T5" fmla="*/ 20 h 136"/>
                <a:gd name="T6" fmla="*/ 132 w 138"/>
                <a:gd name="T7" fmla="*/ 41 h 136"/>
                <a:gd name="T8" fmla="*/ 138 w 138"/>
                <a:gd name="T9" fmla="*/ 66 h 136"/>
                <a:gd name="T10" fmla="*/ 132 w 138"/>
                <a:gd name="T11" fmla="*/ 92 h 136"/>
                <a:gd name="T12" fmla="*/ 118 w 138"/>
                <a:gd name="T13" fmla="*/ 115 h 136"/>
                <a:gd name="T14" fmla="*/ 95 w 138"/>
                <a:gd name="T15" fmla="*/ 130 h 136"/>
                <a:gd name="T16" fmla="*/ 69 w 138"/>
                <a:gd name="T17" fmla="*/ 136 h 136"/>
                <a:gd name="T18" fmla="*/ 43 w 138"/>
                <a:gd name="T19" fmla="*/ 130 h 136"/>
                <a:gd name="T20" fmla="*/ 20 w 138"/>
                <a:gd name="T21" fmla="*/ 115 h 136"/>
                <a:gd name="T22" fmla="*/ 6 w 138"/>
                <a:gd name="T23" fmla="*/ 95 h 136"/>
                <a:gd name="T24" fmla="*/ 0 w 138"/>
                <a:gd name="T25" fmla="*/ 69 h 136"/>
                <a:gd name="T26" fmla="*/ 6 w 138"/>
                <a:gd name="T27" fmla="*/ 43 h 136"/>
                <a:gd name="T28" fmla="*/ 20 w 138"/>
                <a:gd name="T29" fmla="*/ 20 h 136"/>
                <a:gd name="T30" fmla="*/ 43 w 138"/>
                <a:gd name="T31" fmla="*/ 6 h 136"/>
                <a:gd name="T32" fmla="*/ 69 w 138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6">
                  <a:moveTo>
                    <a:pt x="69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2" y="41"/>
                  </a:lnTo>
                  <a:lnTo>
                    <a:pt x="138" y="66"/>
                  </a:lnTo>
                  <a:lnTo>
                    <a:pt x="132" y="92"/>
                  </a:lnTo>
                  <a:lnTo>
                    <a:pt x="118" y="115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5" name="Freeform 304">
              <a:extLst>
                <a:ext uri="{FF2B5EF4-FFF2-40B4-BE49-F238E27FC236}">
                  <a16:creationId xmlns:a16="http://schemas.microsoft.com/office/drawing/2014/main" id="{01CC1B5B-F136-4D2B-B720-2B57572EFC2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572193" y="6065367"/>
              <a:ext cx="108808" cy="110408"/>
            </a:xfrm>
            <a:custGeom>
              <a:avLst/>
              <a:gdLst>
                <a:gd name="T0" fmla="*/ 69 w 136"/>
                <a:gd name="T1" fmla="*/ 0 h 138"/>
                <a:gd name="T2" fmla="*/ 95 w 136"/>
                <a:gd name="T3" fmla="*/ 6 h 138"/>
                <a:gd name="T4" fmla="*/ 116 w 136"/>
                <a:gd name="T5" fmla="*/ 20 h 138"/>
                <a:gd name="T6" fmla="*/ 133 w 136"/>
                <a:gd name="T7" fmla="*/ 43 h 138"/>
                <a:gd name="T8" fmla="*/ 136 w 136"/>
                <a:gd name="T9" fmla="*/ 69 h 138"/>
                <a:gd name="T10" fmla="*/ 133 w 136"/>
                <a:gd name="T11" fmla="*/ 95 h 138"/>
                <a:gd name="T12" fmla="*/ 118 w 136"/>
                <a:gd name="T13" fmla="*/ 118 h 138"/>
                <a:gd name="T14" fmla="*/ 95 w 136"/>
                <a:gd name="T15" fmla="*/ 133 h 138"/>
                <a:gd name="T16" fmla="*/ 69 w 136"/>
                <a:gd name="T17" fmla="*/ 138 h 138"/>
                <a:gd name="T18" fmla="*/ 43 w 136"/>
                <a:gd name="T19" fmla="*/ 133 h 138"/>
                <a:gd name="T20" fmla="*/ 20 w 136"/>
                <a:gd name="T21" fmla="*/ 118 h 138"/>
                <a:gd name="T22" fmla="*/ 6 w 136"/>
                <a:gd name="T23" fmla="*/ 95 h 138"/>
                <a:gd name="T24" fmla="*/ 0 w 136"/>
                <a:gd name="T25" fmla="*/ 69 h 138"/>
                <a:gd name="T26" fmla="*/ 6 w 136"/>
                <a:gd name="T27" fmla="*/ 43 h 138"/>
                <a:gd name="T28" fmla="*/ 20 w 136"/>
                <a:gd name="T29" fmla="*/ 20 h 138"/>
                <a:gd name="T30" fmla="*/ 43 w 136"/>
                <a:gd name="T31" fmla="*/ 6 h 138"/>
                <a:gd name="T32" fmla="*/ 69 w 136"/>
                <a:gd name="T3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8">
                  <a:moveTo>
                    <a:pt x="69" y="0"/>
                  </a:moveTo>
                  <a:lnTo>
                    <a:pt x="95" y="6"/>
                  </a:lnTo>
                  <a:lnTo>
                    <a:pt x="116" y="20"/>
                  </a:lnTo>
                  <a:lnTo>
                    <a:pt x="133" y="43"/>
                  </a:lnTo>
                  <a:lnTo>
                    <a:pt x="136" y="69"/>
                  </a:lnTo>
                  <a:lnTo>
                    <a:pt x="133" y="95"/>
                  </a:lnTo>
                  <a:lnTo>
                    <a:pt x="118" y="118"/>
                  </a:lnTo>
                  <a:lnTo>
                    <a:pt x="95" y="133"/>
                  </a:lnTo>
                  <a:lnTo>
                    <a:pt x="69" y="138"/>
                  </a:lnTo>
                  <a:lnTo>
                    <a:pt x="43" y="133"/>
                  </a:lnTo>
                  <a:lnTo>
                    <a:pt x="20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6" name="Freeform 305">
              <a:extLst>
                <a:ext uri="{FF2B5EF4-FFF2-40B4-BE49-F238E27FC236}">
                  <a16:creationId xmlns:a16="http://schemas.microsoft.com/office/drawing/2014/main" id="{14BEA0A0-537A-420D-BD3D-204ECF18C93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336975" y="5933357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0 w 219"/>
                <a:gd name="T3" fmla="*/ 8 h 219"/>
                <a:gd name="T4" fmla="*/ 181 w 219"/>
                <a:gd name="T5" fmla="*/ 25 h 219"/>
                <a:gd name="T6" fmla="*/ 201 w 219"/>
                <a:gd name="T7" fmla="*/ 51 h 219"/>
                <a:gd name="T8" fmla="*/ 216 w 219"/>
                <a:gd name="T9" fmla="*/ 83 h 219"/>
                <a:gd name="T10" fmla="*/ 219 w 219"/>
                <a:gd name="T11" fmla="*/ 115 h 219"/>
                <a:gd name="T12" fmla="*/ 213 w 219"/>
                <a:gd name="T13" fmla="*/ 149 h 219"/>
                <a:gd name="T14" fmla="*/ 193 w 219"/>
                <a:gd name="T15" fmla="*/ 178 h 219"/>
                <a:gd name="T16" fmla="*/ 167 w 219"/>
                <a:gd name="T17" fmla="*/ 201 h 219"/>
                <a:gd name="T18" fmla="*/ 138 w 219"/>
                <a:gd name="T19" fmla="*/ 216 h 219"/>
                <a:gd name="T20" fmla="*/ 103 w 219"/>
                <a:gd name="T21" fmla="*/ 219 h 219"/>
                <a:gd name="T22" fmla="*/ 69 w 219"/>
                <a:gd name="T23" fmla="*/ 210 h 219"/>
                <a:gd name="T24" fmla="*/ 40 w 219"/>
                <a:gd name="T25" fmla="*/ 193 h 219"/>
                <a:gd name="T26" fmla="*/ 17 w 219"/>
                <a:gd name="T27" fmla="*/ 167 h 219"/>
                <a:gd name="T28" fmla="*/ 3 w 219"/>
                <a:gd name="T29" fmla="*/ 135 h 219"/>
                <a:gd name="T30" fmla="*/ 0 w 219"/>
                <a:gd name="T31" fmla="*/ 100 h 219"/>
                <a:gd name="T32" fmla="*/ 8 w 219"/>
                <a:gd name="T33" fmla="*/ 69 h 219"/>
                <a:gd name="T34" fmla="*/ 26 w 219"/>
                <a:gd name="T35" fmla="*/ 37 h 219"/>
                <a:gd name="T36" fmla="*/ 52 w 219"/>
                <a:gd name="T37" fmla="*/ 17 h 219"/>
                <a:gd name="T38" fmla="*/ 83 w 219"/>
                <a:gd name="T39" fmla="*/ 2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0" y="8"/>
                  </a:lnTo>
                  <a:lnTo>
                    <a:pt x="181" y="25"/>
                  </a:lnTo>
                  <a:lnTo>
                    <a:pt x="201" y="51"/>
                  </a:lnTo>
                  <a:lnTo>
                    <a:pt x="216" y="83"/>
                  </a:lnTo>
                  <a:lnTo>
                    <a:pt x="219" y="115"/>
                  </a:lnTo>
                  <a:lnTo>
                    <a:pt x="213" y="149"/>
                  </a:lnTo>
                  <a:lnTo>
                    <a:pt x="193" y="178"/>
                  </a:lnTo>
                  <a:lnTo>
                    <a:pt x="167" y="201"/>
                  </a:lnTo>
                  <a:lnTo>
                    <a:pt x="138" y="216"/>
                  </a:lnTo>
                  <a:lnTo>
                    <a:pt x="103" y="219"/>
                  </a:lnTo>
                  <a:lnTo>
                    <a:pt x="69" y="210"/>
                  </a:lnTo>
                  <a:lnTo>
                    <a:pt x="40" y="193"/>
                  </a:lnTo>
                  <a:lnTo>
                    <a:pt x="17" y="167"/>
                  </a:lnTo>
                  <a:lnTo>
                    <a:pt x="3" y="135"/>
                  </a:lnTo>
                  <a:lnTo>
                    <a:pt x="0" y="100"/>
                  </a:lnTo>
                  <a:lnTo>
                    <a:pt x="8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3" y="2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7" name="Freeform 306">
              <a:extLst>
                <a:ext uri="{FF2B5EF4-FFF2-40B4-BE49-F238E27FC236}">
                  <a16:creationId xmlns:a16="http://schemas.microsoft.com/office/drawing/2014/main" id="{45F11EE4-D4F6-4D90-A674-71D87D31622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175364" y="5854951"/>
              <a:ext cx="108808" cy="108808"/>
            </a:xfrm>
            <a:custGeom>
              <a:avLst/>
              <a:gdLst>
                <a:gd name="T0" fmla="*/ 66 w 136"/>
                <a:gd name="T1" fmla="*/ 0 h 136"/>
                <a:gd name="T2" fmla="*/ 92 w 136"/>
                <a:gd name="T3" fmla="*/ 6 h 136"/>
                <a:gd name="T4" fmla="*/ 115 w 136"/>
                <a:gd name="T5" fmla="*/ 20 h 136"/>
                <a:gd name="T6" fmla="*/ 130 w 136"/>
                <a:gd name="T7" fmla="*/ 40 h 136"/>
                <a:gd name="T8" fmla="*/ 136 w 136"/>
                <a:gd name="T9" fmla="*/ 66 h 136"/>
                <a:gd name="T10" fmla="*/ 130 w 136"/>
                <a:gd name="T11" fmla="*/ 92 h 136"/>
                <a:gd name="T12" fmla="*/ 115 w 136"/>
                <a:gd name="T13" fmla="*/ 115 h 136"/>
                <a:gd name="T14" fmla="*/ 95 w 136"/>
                <a:gd name="T15" fmla="*/ 130 h 136"/>
                <a:gd name="T16" fmla="*/ 69 w 136"/>
                <a:gd name="T17" fmla="*/ 136 h 136"/>
                <a:gd name="T18" fmla="*/ 40 w 136"/>
                <a:gd name="T19" fmla="*/ 130 h 136"/>
                <a:gd name="T20" fmla="*/ 20 w 136"/>
                <a:gd name="T21" fmla="*/ 115 h 136"/>
                <a:gd name="T22" fmla="*/ 6 w 136"/>
                <a:gd name="T23" fmla="*/ 95 h 136"/>
                <a:gd name="T24" fmla="*/ 0 w 136"/>
                <a:gd name="T25" fmla="*/ 69 h 136"/>
                <a:gd name="T26" fmla="*/ 6 w 136"/>
                <a:gd name="T27" fmla="*/ 43 h 136"/>
                <a:gd name="T28" fmla="*/ 20 w 136"/>
                <a:gd name="T29" fmla="*/ 20 h 136"/>
                <a:gd name="T30" fmla="*/ 40 w 136"/>
                <a:gd name="T31" fmla="*/ 6 h 136"/>
                <a:gd name="T32" fmla="*/ 66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6" y="0"/>
                  </a:moveTo>
                  <a:lnTo>
                    <a:pt x="92" y="6"/>
                  </a:lnTo>
                  <a:lnTo>
                    <a:pt x="115" y="20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0" y="92"/>
                  </a:lnTo>
                  <a:lnTo>
                    <a:pt x="115" y="115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0" y="130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8" name="Freeform 307">
              <a:extLst>
                <a:ext uri="{FF2B5EF4-FFF2-40B4-BE49-F238E27FC236}">
                  <a16:creationId xmlns:a16="http://schemas.microsoft.com/office/drawing/2014/main" id="{6A7FE310-D7C1-49C6-B697-C8FFB3334B2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991350" y="5728542"/>
              <a:ext cx="108008" cy="110408"/>
            </a:xfrm>
            <a:custGeom>
              <a:avLst/>
              <a:gdLst>
                <a:gd name="T0" fmla="*/ 66 w 135"/>
                <a:gd name="T1" fmla="*/ 0 h 138"/>
                <a:gd name="T2" fmla="*/ 95 w 135"/>
                <a:gd name="T3" fmla="*/ 5 h 138"/>
                <a:gd name="T4" fmla="*/ 118 w 135"/>
                <a:gd name="T5" fmla="*/ 20 h 138"/>
                <a:gd name="T6" fmla="*/ 132 w 135"/>
                <a:gd name="T7" fmla="*/ 43 h 138"/>
                <a:gd name="T8" fmla="*/ 135 w 135"/>
                <a:gd name="T9" fmla="*/ 69 h 138"/>
                <a:gd name="T10" fmla="*/ 132 w 135"/>
                <a:gd name="T11" fmla="*/ 95 h 138"/>
                <a:gd name="T12" fmla="*/ 118 w 135"/>
                <a:gd name="T13" fmla="*/ 118 h 138"/>
                <a:gd name="T14" fmla="*/ 95 w 135"/>
                <a:gd name="T15" fmla="*/ 132 h 138"/>
                <a:gd name="T16" fmla="*/ 69 w 135"/>
                <a:gd name="T17" fmla="*/ 138 h 138"/>
                <a:gd name="T18" fmla="*/ 43 w 135"/>
                <a:gd name="T19" fmla="*/ 132 h 138"/>
                <a:gd name="T20" fmla="*/ 20 w 135"/>
                <a:gd name="T21" fmla="*/ 118 h 138"/>
                <a:gd name="T22" fmla="*/ 5 w 135"/>
                <a:gd name="T23" fmla="*/ 95 h 138"/>
                <a:gd name="T24" fmla="*/ 0 w 135"/>
                <a:gd name="T25" fmla="*/ 69 h 138"/>
                <a:gd name="T26" fmla="*/ 5 w 135"/>
                <a:gd name="T27" fmla="*/ 43 h 138"/>
                <a:gd name="T28" fmla="*/ 20 w 135"/>
                <a:gd name="T29" fmla="*/ 20 h 138"/>
                <a:gd name="T30" fmla="*/ 43 w 135"/>
                <a:gd name="T31" fmla="*/ 5 h 138"/>
                <a:gd name="T32" fmla="*/ 66 w 135"/>
                <a:gd name="T3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8">
                  <a:moveTo>
                    <a:pt x="66" y="0"/>
                  </a:moveTo>
                  <a:lnTo>
                    <a:pt x="95" y="5"/>
                  </a:lnTo>
                  <a:lnTo>
                    <a:pt x="118" y="20"/>
                  </a:lnTo>
                  <a:lnTo>
                    <a:pt x="132" y="43"/>
                  </a:lnTo>
                  <a:lnTo>
                    <a:pt x="135" y="69"/>
                  </a:lnTo>
                  <a:lnTo>
                    <a:pt x="132" y="95"/>
                  </a:lnTo>
                  <a:lnTo>
                    <a:pt x="118" y="118"/>
                  </a:lnTo>
                  <a:lnTo>
                    <a:pt x="95" y="132"/>
                  </a:lnTo>
                  <a:lnTo>
                    <a:pt x="69" y="138"/>
                  </a:lnTo>
                  <a:lnTo>
                    <a:pt x="43" y="132"/>
                  </a:lnTo>
                  <a:lnTo>
                    <a:pt x="20" y="118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3"/>
                  </a:lnTo>
                  <a:lnTo>
                    <a:pt x="20" y="20"/>
                  </a:lnTo>
                  <a:lnTo>
                    <a:pt x="43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9" name="Freeform 308">
              <a:extLst>
                <a:ext uri="{FF2B5EF4-FFF2-40B4-BE49-F238E27FC236}">
                  <a16:creationId xmlns:a16="http://schemas.microsoft.com/office/drawing/2014/main" id="{52C6A33C-7268-4965-B180-432BA4C6971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315301" y="5075694"/>
              <a:ext cx="175213" cy="172813"/>
            </a:xfrm>
            <a:custGeom>
              <a:avLst/>
              <a:gdLst>
                <a:gd name="T0" fmla="*/ 118 w 219"/>
                <a:gd name="T1" fmla="*/ 0 h 216"/>
                <a:gd name="T2" fmla="*/ 153 w 219"/>
                <a:gd name="T3" fmla="*/ 5 h 216"/>
                <a:gd name="T4" fmla="*/ 181 w 219"/>
                <a:gd name="T5" fmla="*/ 25 h 216"/>
                <a:gd name="T6" fmla="*/ 204 w 219"/>
                <a:gd name="T7" fmla="*/ 49 h 216"/>
                <a:gd name="T8" fmla="*/ 216 w 219"/>
                <a:gd name="T9" fmla="*/ 80 h 216"/>
                <a:gd name="T10" fmla="*/ 219 w 219"/>
                <a:gd name="T11" fmla="*/ 115 h 216"/>
                <a:gd name="T12" fmla="*/ 210 w 219"/>
                <a:gd name="T13" fmla="*/ 149 h 216"/>
                <a:gd name="T14" fmla="*/ 193 w 219"/>
                <a:gd name="T15" fmla="*/ 178 h 216"/>
                <a:gd name="T16" fmla="*/ 167 w 219"/>
                <a:gd name="T17" fmla="*/ 201 h 216"/>
                <a:gd name="T18" fmla="*/ 138 w 219"/>
                <a:gd name="T19" fmla="*/ 213 h 216"/>
                <a:gd name="T20" fmla="*/ 104 w 219"/>
                <a:gd name="T21" fmla="*/ 216 h 216"/>
                <a:gd name="T22" fmla="*/ 69 w 219"/>
                <a:gd name="T23" fmla="*/ 210 h 216"/>
                <a:gd name="T24" fmla="*/ 40 w 219"/>
                <a:gd name="T25" fmla="*/ 190 h 216"/>
                <a:gd name="T26" fmla="*/ 17 w 219"/>
                <a:gd name="T27" fmla="*/ 164 h 216"/>
                <a:gd name="T28" fmla="*/ 6 w 219"/>
                <a:gd name="T29" fmla="*/ 135 h 216"/>
                <a:gd name="T30" fmla="*/ 0 w 219"/>
                <a:gd name="T31" fmla="*/ 100 h 216"/>
                <a:gd name="T32" fmla="*/ 8 w 219"/>
                <a:gd name="T33" fmla="*/ 66 h 216"/>
                <a:gd name="T34" fmla="*/ 29 w 219"/>
                <a:gd name="T35" fmla="*/ 37 h 216"/>
                <a:gd name="T36" fmla="*/ 52 w 219"/>
                <a:gd name="T37" fmla="*/ 14 h 216"/>
                <a:gd name="T38" fmla="*/ 83 w 219"/>
                <a:gd name="T39" fmla="*/ 2 h 216"/>
                <a:gd name="T40" fmla="*/ 118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8" y="0"/>
                  </a:moveTo>
                  <a:lnTo>
                    <a:pt x="153" y="5"/>
                  </a:lnTo>
                  <a:lnTo>
                    <a:pt x="181" y="25"/>
                  </a:lnTo>
                  <a:lnTo>
                    <a:pt x="204" y="49"/>
                  </a:lnTo>
                  <a:lnTo>
                    <a:pt x="216" y="80"/>
                  </a:lnTo>
                  <a:lnTo>
                    <a:pt x="219" y="115"/>
                  </a:lnTo>
                  <a:lnTo>
                    <a:pt x="210" y="149"/>
                  </a:lnTo>
                  <a:lnTo>
                    <a:pt x="193" y="178"/>
                  </a:lnTo>
                  <a:lnTo>
                    <a:pt x="167" y="201"/>
                  </a:lnTo>
                  <a:lnTo>
                    <a:pt x="138" y="213"/>
                  </a:lnTo>
                  <a:lnTo>
                    <a:pt x="104" y="216"/>
                  </a:lnTo>
                  <a:lnTo>
                    <a:pt x="69" y="210"/>
                  </a:lnTo>
                  <a:lnTo>
                    <a:pt x="40" y="190"/>
                  </a:lnTo>
                  <a:lnTo>
                    <a:pt x="17" y="164"/>
                  </a:lnTo>
                  <a:lnTo>
                    <a:pt x="6" y="135"/>
                  </a:lnTo>
                  <a:lnTo>
                    <a:pt x="0" y="100"/>
                  </a:lnTo>
                  <a:lnTo>
                    <a:pt x="8" y="66"/>
                  </a:lnTo>
                  <a:lnTo>
                    <a:pt x="29" y="37"/>
                  </a:lnTo>
                  <a:lnTo>
                    <a:pt x="52" y="14"/>
                  </a:lnTo>
                  <a:lnTo>
                    <a:pt x="83" y="2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0" name="Freeform 309">
              <a:extLst>
                <a:ext uri="{FF2B5EF4-FFF2-40B4-BE49-F238E27FC236}">
                  <a16:creationId xmlns:a16="http://schemas.microsoft.com/office/drawing/2014/main" id="{FB1519D1-8FCA-4FC7-A3E4-EA24F21D8BF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184092" y="4894081"/>
              <a:ext cx="172813" cy="175213"/>
            </a:xfrm>
            <a:custGeom>
              <a:avLst/>
              <a:gdLst>
                <a:gd name="T0" fmla="*/ 115 w 216"/>
                <a:gd name="T1" fmla="*/ 0 h 219"/>
                <a:gd name="T2" fmla="*/ 150 w 216"/>
                <a:gd name="T3" fmla="*/ 9 h 219"/>
                <a:gd name="T4" fmla="*/ 179 w 216"/>
                <a:gd name="T5" fmla="*/ 26 h 219"/>
                <a:gd name="T6" fmla="*/ 202 w 216"/>
                <a:gd name="T7" fmla="*/ 52 h 219"/>
                <a:gd name="T8" fmla="*/ 213 w 216"/>
                <a:gd name="T9" fmla="*/ 84 h 219"/>
                <a:gd name="T10" fmla="*/ 216 w 216"/>
                <a:gd name="T11" fmla="*/ 119 h 219"/>
                <a:gd name="T12" fmla="*/ 210 w 216"/>
                <a:gd name="T13" fmla="*/ 150 h 219"/>
                <a:gd name="T14" fmla="*/ 190 w 216"/>
                <a:gd name="T15" fmla="*/ 182 h 219"/>
                <a:gd name="T16" fmla="*/ 164 w 216"/>
                <a:gd name="T17" fmla="*/ 202 h 219"/>
                <a:gd name="T18" fmla="*/ 135 w 216"/>
                <a:gd name="T19" fmla="*/ 217 h 219"/>
                <a:gd name="T20" fmla="*/ 101 w 216"/>
                <a:gd name="T21" fmla="*/ 219 h 219"/>
                <a:gd name="T22" fmla="*/ 66 w 216"/>
                <a:gd name="T23" fmla="*/ 211 h 219"/>
                <a:gd name="T24" fmla="*/ 37 w 216"/>
                <a:gd name="T25" fmla="*/ 193 h 219"/>
                <a:gd name="T26" fmla="*/ 14 w 216"/>
                <a:gd name="T27" fmla="*/ 168 h 219"/>
                <a:gd name="T28" fmla="*/ 3 w 216"/>
                <a:gd name="T29" fmla="*/ 136 h 219"/>
                <a:gd name="T30" fmla="*/ 0 w 216"/>
                <a:gd name="T31" fmla="*/ 104 h 219"/>
                <a:gd name="T32" fmla="*/ 6 w 216"/>
                <a:gd name="T33" fmla="*/ 70 h 219"/>
                <a:gd name="T34" fmla="*/ 26 w 216"/>
                <a:gd name="T35" fmla="*/ 41 h 219"/>
                <a:gd name="T36" fmla="*/ 49 w 216"/>
                <a:gd name="T37" fmla="*/ 18 h 219"/>
                <a:gd name="T38" fmla="*/ 81 w 216"/>
                <a:gd name="T39" fmla="*/ 3 h 219"/>
                <a:gd name="T40" fmla="*/ 115 w 216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19">
                  <a:moveTo>
                    <a:pt x="115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3" y="84"/>
                  </a:lnTo>
                  <a:lnTo>
                    <a:pt x="216" y="119"/>
                  </a:lnTo>
                  <a:lnTo>
                    <a:pt x="210" y="150"/>
                  </a:lnTo>
                  <a:lnTo>
                    <a:pt x="190" y="182"/>
                  </a:lnTo>
                  <a:lnTo>
                    <a:pt x="164" y="202"/>
                  </a:lnTo>
                  <a:lnTo>
                    <a:pt x="135" y="217"/>
                  </a:lnTo>
                  <a:lnTo>
                    <a:pt x="101" y="219"/>
                  </a:lnTo>
                  <a:lnTo>
                    <a:pt x="66" y="211"/>
                  </a:lnTo>
                  <a:lnTo>
                    <a:pt x="37" y="193"/>
                  </a:lnTo>
                  <a:lnTo>
                    <a:pt x="14" y="168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6" y="70"/>
                  </a:lnTo>
                  <a:lnTo>
                    <a:pt x="26" y="41"/>
                  </a:lnTo>
                  <a:lnTo>
                    <a:pt x="49" y="18"/>
                  </a:lnTo>
                  <a:lnTo>
                    <a:pt x="81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1" name="Freeform 310">
              <a:extLst>
                <a:ext uri="{FF2B5EF4-FFF2-40B4-BE49-F238E27FC236}">
                  <a16:creationId xmlns:a16="http://schemas.microsoft.com/office/drawing/2014/main" id="{AE6B48CB-212D-4B26-BAD4-29F04FEC286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960075" y="4506053"/>
              <a:ext cx="175213" cy="173613"/>
            </a:xfrm>
            <a:custGeom>
              <a:avLst/>
              <a:gdLst>
                <a:gd name="T0" fmla="*/ 118 w 219"/>
                <a:gd name="T1" fmla="*/ 0 h 217"/>
                <a:gd name="T2" fmla="*/ 150 w 219"/>
                <a:gd name="T3" fmla="*/ 6 h 217"/>
                <a:gd name="T4" fmla="*/ 181 w 219"/>
                <a:gd name="T5" fmla="*/ 26 h 217"/>
                <a:gd name="T6" fmla="*/ 204 w 219"/>
                <a:gd name="T7" fmla="*/ 49 h 217"/>
                <a:gd name="T8" fmla="*/ 216 w 219"/>
                <a:gd name="T9" fmla="*/ 81 h 217"/>
                <a:gd name="T10" fmla="*/ 219 w 219"/>
                <a:gd name="T11" fmla="*/ 116 h 217"/>
                <a:gd name="T12" fmla="*/ 210 w 219"/>
                <a:gd name="T13" fmla="*/ 150 h 217"/>
                <a:gd name="T14" fmla="*/ 193 w 219"/>
                <a:gd name="T15" fmla="*/ 179 h 217"/>
                <a:gd name="T16" fmla="*/ 167 w 219"/>
                <a:gd name="T17" fmla="*/ 202 h 217"/>
                <a:gd name="T18" fmla="*/ 138 w 219"/>
                <a:gd name="T19" fmla="*/ 214 h 217"/>
                <a:gd name="T20" fmla="*/ 103 w 219"/>
                <a:gd name="T21" fmla="*/ 217 h 217"/>
                <a:gd name="T22" fmla="*/ 69 w 219"/>
                <a:gd name="T23" fmla="*/ 211 h 217"/>
                <a:gd name="T24" fmla="*/ 40 w 219"/>
                <a:gd name="T25" fmla="*/ 191 h 217"/>
                <a:gd name="T26" fmla="*/ 17 w 219"/>
                <a:gd name="T27" fmla="*/ 165 h 217"/>
                <a:gd name="T28" fmla="*/ 5 w 219"/>
                <a:gd name="T29" fmla="*/ 136 h 217"/>
                <a:gd name="T30" fmla="*/ 0 w 219"/>
                <a:gd name="T31" fmla="*/ 101 h 217"/>
                <a:gd name="T32" fmla="*/ 8 w 219"/>
                <a:gd name="T33" fmla="*/ 67 h 217"/>
                <a:gd name="T34" fmla="*/ 26 w 219"/>
                <a:gd name="T35" fmla="*/ 38 h 217"/>
                <a:gd name="T36" fmla="*/ 52 w 219"/>
                <a:gd name="T37" fmla="*/ 15 h 217"/>
                <a:gd name="T38" fmla="*/ 83 w 219"/>
                <a:gd name="T39" fmla="*/ 3 h 217"/>
                <a:gd name="T40" fmla="*/ 118 w 219"/>
                <a:gd name="T41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7">
                  <a:moveTo>
                    <a:pt x="118" y="0"/>
                  </a:moveTo>
                  <a:lnTo>
                    <a:pt x="150" y="6"/>
                  </a:lnTo>
                  <a:lnTo>
                    <a:pt x="181" y="26"/>
                  </a:lnTo>
                  <a:lnTo>
                    <a:pt x="204" y="49"/>
                  </a:lnTo>
                  <a:lnTo>
                    <a:pt x="216" y="81"/>
                  </a:lnTo>
                  <a:lnTo>
                    <a:pt x="219" y="116"/>
                  </a:lnTo>
                  <a:lnTo>
                    <a:pt x="210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8" y="214"/>
                  </a:lnTo>
                  <a:lnTo>
                    <a:pt x="103" y="217"/>
                  </a:lnTo>
                  <a:lnTo>
                    <a:pt x="69" y="211"/>
                  </a:lnTo>
                  <a:lnTo>
                    <a:pt x="40" y="191"/>
                  </a:lnTo>
                  <a:lnTo>
                    <a:pt x="17" y="165"/>
                  </a:lnTo>
                  <a:lnTo>
                    <a:pt x="5" y="136"/>
                  </a:lnTo>
                  <a:lnTo>
                    <a:pt x="0" y="101"/>
                  </a:lnTo>
                  <a:lnTo>
                    <a:pt x="8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3" y="3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2" name="Freeform 311">
              <a:extLst>
                <a:ext uri="{FF2B5EF4-FFF2-40B4-BE49-F238E27FC236}">
                  <a16:creationId xmlns:a16="http://schemas.microsoft.com/office/drawing/2014/main" id="{A5E85294-C434-4B1A-9821-03970ED2120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868068" y="4301238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82 w 219"/>
                <a:gd name="T5" fmla="*/ 26 h 219"/>
                <a:gd name="T6" fmla="*/ 202 w 219"/>
                <a:gd name="T7" fmla="*/ 52 h 219"/>
                <a:gd name="T8" fmla="*/ 216 w 219"/>
                <a:gd name="T9" fmla="*/ 84 h 219"/>
                <a:gd name="T10" fmla="*/ 219 w 219"/>
                <a:gd name="T11" fmla="*/ 118 h 219"/>
                <a:gd name="T12" fmla="*/ 210 w 219"/>
                <a:gd name="T13" fmla="*/ 150 h 219"/>
                <a:gd name="T14" fmla="*/ 193 w 219"/>
                <a:gd name="T15" fmla="*/ 182 h 219"/>
                <a:gd name="T16" fmla="*/ 167 w 219"/>
                <a:gd name="T17" fmla="*/ 202 h 219"/>
                <a:gd name="T18" fmla="*/ 136 w 219"/>
                <a:gd name="T19" fmla="*/ 216 h 219"/>
                <a:gd name="T20" fmla="*/ 101 w 219"/>
                <a:gd name="T21" fmla="*/ 219 h 219"/>
                <a:gd name="T22" fmla="*/ 69 w 219"/>
                <a:gd name="T23" fmla="*/ 210 h 219"/>
                <a:gd name="T24" fmla="*/ 37 w 219"/>
                <a:gd name="T25" fmla="*/ 193 h 219"/>
                <a:gd name="T26" fmla="*/ 17 w 219"/>
                <a:gd name="T27" fmla="*/ 167 h 219"/>
                <a:gd name="T28" fmla="*/ 3 w 219"/>
                <a:gd name="T29" fmla="*/ 136 h 219"/>
                <a:gd name="T30" fmla="*/ 0 w 219"/>
                <a:gd name="T31" fmla="*/ 104 h 219"/>
                <a:gd name="T32" fmla="*/ 9 w 219"/>
                <a:gd name="T33" fmla="*/ 69 h 219"/>
                <a:gd name="T34" fmla="*/ 26 w 219"/>
                <a:gd name="T35" fmla="*/ 38 h 219"/>
                <a:gd name="T36" fmla="*/ 52 w 219"/>
                <a:gd name="T37" fmla="*/ 17 h 219"/>
                <a:gd name="T38" fmla="*/ 84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4"/>
                  </a:lnTo>
                  <a:lnTo>
                    <a:pt x="219" y="118"/>
                  </a:lnTo>
                  <a:lnTo>
                    <a:pt x="210" y="150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9" y="210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38"/>
                  </a:lnTo>
                  <a:lnTo>
                    <a:pt x="52" y="17"/>
                  </a:lnTo>
                  <a:lnTo>
                    <a:pt x="84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3" name="Freeform 312">
              <a:extLst>
                <a:ext uri="{FF2B5EF4-FFF2-40B4-BE49-F238E27FC236}">
                  <a16:creationId xmlns:a16="http://schemas.microsoft.com/office/drawing/2014/main" id="{01AB5139-535B-471B-B9D7-4EA2A1936A1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683255" y="3655590"/>
              <a:ext cx="175213" cy="175213"/>
            </a:xfrm>
            <a:custGeom>
              <a:avLst/>
              <a:gdLst>
                <a:gd name="T0" fmla="*/ 115 w 219"/>
                <a:gd name="T1" fmla="*/ 0 h 219"/>
                <a:gd name="T2" fmla="*/ 150 w 219"/>
                <a:gd name="T3" fmla="*/ 9 h 219"/>
                <a:gd name="T4" fmla="*/ 178 w 219"/>
                <a:gd name="T5" fmla="*/ 26 h 219"/>
                <a:gd name="T6" fmla="*/ 201 w 219"/>
                <a:gd name="T7" fmla="*/ 52 h 219"/>
                <a:gd name="T8" fmla="*/ 216 w 219"/>
                <a:gd name="T9" fmla="*/ 84 h 219"/>
                <a:gd name="T10" fmla="*/ 219 w 219"/>
                <a:gd name="T11" fmla="*/ 118 h 219"/>
                <a:gd name="T12" fmla="*/ 210 w 219"/>
                <a:gd name="T13" fmla="*/ 150 h 219"/>
                <a:gd name="T14" fmla="*/ 190 w 219"/>
                <a:gd name="T15" fmla="*/ 182 h 219"/>
                <a:gd name="T16" fmla="*/ 167 w 219"/>
                <a:gd name="T17" fmla="*/ 202 h 219"/>
                <a:gd name="T18" fmla="*/ 135 w 219"/>
                <a:gd name="T19" fmla="*/ 216 h 219"/>
                <a:gd name="T20" fmla="*/ 101 w 219"/>
                <a:gd name="T21" fmla="*/ 219 h 219"/>
                <a:gd name="T22" fmla="*/ 69 w 219"/>
                <a:gd name="T23" fmla="*/ 210 h 219"/>
                <a:gd name="T24" fmla="*/ 37 w 219"/>
                <a:gd name="T25" fmla="*/ 193 h 219"/>
                <a:gd name="T26" fmla="*/ 17 w 219"/>
                <a:gd name="T27" fmla="*/ 167 h 219"/>
                <a:gd name="T28" fmla="*/ 3 w 219"/>
                <a:gd name="T29" fmla="*/ 136 h 219"/>
                <a:gd name="T30" fmla="*/ 0 w 219"/>
                <a:gd name="T31" fmla="*/ 104 h 219"/>
                <a:gd name="T32" fmla="*/ 8 w 219"/>
                <a:gd name="T33" fmla="*/ 69 h 219"/>
                <a:gd name="T34" fmla="*/ 26 w 219"/>
                <a:gd name="T35" fmla="*/ 38 h 219"/>
                <a:gd name="T36" fmla="*/ 52 w 219"/>
                <a:gd name="T37" fmla="*/ 17 h 219"/>
                <a:gd name="T38" fmla="*/ 83 w 219"/>
                <a:gd name="T39" fmla="*/ 3 h 219"/>
                <a:gd name="T40" fmla="*/ 115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5" y="0"/>
                  </a:moveTo>
                  <a:lnTo>
                    <a:pt x="150" y="9"/>
                  </a:lnTo>
                  <a:lnTo>
                    <a:pt x="178" y="26"/>
                  </a:lnTo>
                  <a:lnTo>
                    <a:pt x="201" y="52"/>
                  </a:lnTo>
                  <a:lnTo>
                    <a:pt x="216" y="84"/>
                  </a:lnTo>
                  <a:lnTo>
                    <a:pt x="219" y="118"/>
                  </a:lnTo>
                  <a:lnTo>
                    <a:pt x="210" y="150"/>
                  </a:lnTo>
                  <a:lnTo>
                    <a:pt x="190" y="182"/>
                  </a:lnTo>
                  <a:lnTo>
                    <a:pt x="167" y="202"/>
                  </a:lnTo>
                  <a:lnTo>
                    <a:pt x="135" y="216"/>
                  </a:lnTo>
                  <a:lnTo>
                    <a:pt x="101" y="219"/>
                  </a:lnTo>
                  <a:lnTo>
                    <a:pt x="69" y="210"/>
                  </a:lnTo>
                  <a:lnTo>
                    <a:pt x="37" y="193"/>
                  </a:lnTo>
                  <a:lnTo>
                    <a:pt x="17" y="167"/>
                  </a:lnTo>
                  <a:lnTo>
                    <a:pt x="3" y="136"/>
                  </a:lnTo>
                  <a:lnTo>
                    <a:pt x="0" y="104"/>
                  </a:lnTo>
                  <a:lnTo>
                    <a:pt x="8" y="69"/>
                  </a:lnTo>
                  <a:lnTo>
                    <a:pt x="26" y="38"/>
                  </a:lnTo>
                  <a:lnTo>
                    <a:pt x="52" y="17"/>
                  </a:lnTo>
                  <a:lnTo>
                    <a:pt x="83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4" name="Freeform 313">
              <a:extLst>
                <a:ext uri="{FF2B5EF4-FFF2-40B4-BE49-F238E27FC236}">
                  <a16:creationId xmlns:a16="http://schemas.microsoft.com/office/drawing/2014/main" id="{B8E73E80-79C5-4376-9E77-DC8E8B98474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653653" y="3433975"/>
              <a:ext cx="175213" cy="175213"/>
            </a:xfrm>
            <a:custGeom>
              <a:avLst/>
              <a:gdLst>
                <a:gd name="T0" fmla="*/ 118 w 219"/>
                <a:gd name="T1" fmla="*/ 0 h 219"/>
                <a:gd name="T2" fmla="*/ 153 w 219"/>
                <a:gd name="T3" fmla="*/ 8 h 219"/>
                <a:gd name="T4" fmla="*/ 182 w 219"/>
                <a:gd name="T5" fmla="*/ 26 h 219"/>
                <a:gd name="T6" fmla="*/ 202 w 219"/>
                <a:gd name="T7" fmla="*/ 52 h 219"/>
                <a:gd name="T8" fmla="*/ 216 w 219"/>
                <a:gd name="T9" fmla="*/ 83 h 219"/>
                <a:gd name="T10" fmla="*/ 219 w 219"/>
                <a:gd name="T11" fmla="*/ 118 h 219"/>
                <a:gd name="T12" fmla="*/ 213 w 219"/>
                <a:gd name="T13" fmla="*/ 152 h 219"/>
                <a:gd name="T14" fmla="*/ 193 w 219"/>
                <a:gd name="T15" fmla="*/ 181 h 219"/>
                <a:gd name="T16" fmla="*/ 167 w 219"/>
                <a:gd name="T17" fmla="*/ 204 h 219"/>
                <a:gd name="T18" fmla="*/ 136 w 219"/>
                <a:gd name="T19" fmla="*/ 216 h 219"/>
                <a:gd name="T20" fmla="*/ 104 w 219"/>
                <a:gd name="T21" fmla="*/ 219 h 219"/>
                <a:gd name="T22" fmla="*/ 69 w 219"/>
                <a:gd name="T23" fmla="*/ 210 h 219"/>
                <a:gd name="T24" fmla="*/ 40 w 219"/>
                <a:gd name="T25" fmla="*/ 193 h 219"/>
                <a:gd name="T26" fmla="*/ 17 w 219"/>
                <a:gd name="T27" fmla="*/ 167 h 219"/>
                <a:gd name="T28" fmla="*/ 3 w 219"/>
                <a:gd name="T29" fmla="*/ 138 h 219"/>
                <a:gd name="T30" fmla="*/ 0 w 219"/>
                <a:gd name="T31" fmla="*/ 101 h 219"/>
                <a:gd name="T32" fmla="*/ 9 w 219"/>
                <a:gd name="T33" fmla="*/ 69 h 219"/>
                <a:gd name="T34" fmla="*/ 26 w 219"/>
                <a:gd name="T35" fmla="*/ 40 h 219"/>
                <a:gd name="T36" fmla="*/ 52 w 219"/>
                <a:gd name="T37" fmla="*/ 17 h 219"/>
                <a:gd name="T38" fmla="*/ 84 w 219"/>
                <a:gd name="T39" fmla="*/ 6 h 219"/>
                <a:gd name="T40" fmla="*/ 118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8" y="0"/>
                  </a:moveTo>
                  <a:lnTo>
                    <a:pt x="153" y="8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3"/>
                  </a:lnTo>
                  <a:lnTo>
                    <a:pt x="219" y="118"/>
                  </a:lnTo>
                  <a:lnTo>
                    <a:pt x="213" y="152"/>
                  </a:lnTo>
                  <a:lnTo>
                    <a:pt x="193" y="181"/>
                  </a:lnTo>
                  <a:lnTo>
                    <a:pt x="167" y="204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69" y="210"/>
                  </a:lnTo>
                  <a:lnTo>
                    <a:pt x="40" y="193"/>
                  </a:lnTo>
                  <a:lnTo>
                    <a:pt x="17" y="167"/>
                  </a:lnTo>
                  <a:lnTo>
                    <a:pt x="3" y="138"/>
                  </a:lnTo>
                  <a:lnTo>
                    <a:pt x="0" y="101"/>
                  </a:lnTo>
                  <a:lnTo>
                    <a:pt x="9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4" y="6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5" name="Freeform 314">
              <a:extLst>
                <a:ext uri="{FF2B5EF4-FFF2-40B4-BE49-F238E27FC236}">
                  <a16:creationId xmlns:a16="http://schemas.microsoft.com/office/drawing/2014/main" id="{2175316F-3B47-4ABC-8C2F-262FF191CA0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637651" y="2986742"/>
              <a:ext cx="175213" cy="175213"/>
            </a:xfrm>
            <a:custGeom>
              <a:avLst/>
              <a:gdLst>
                <a:gd name="T0" fmla="*/ 116 w 219"/>
                <a:gd name="T1" fmla="*/ 0 h 219"/>
                <a:gd name="T2" fmla="*/ 150 w 219"/>
                <a:gd name="T3" fmla="*/ 9 h 219"/>
                <a:gd name="T4" fmla="*/ 179 w 219"/>
                <a:gd name="T5" fmla="*/ 26 h 219"/>
                <a:gd name="T6" fmla="*/ 202 w 219"/>
                <a:gd name="T7" fmla="*/ 52 h 219"/>
                <a:gd name="T8" fmla="*/ 217 w 219"/>
                <a:gd name="T9" fmla="*/ 83 h 219"/>
                <a:gd name="T10" fmla="*/ 219 w 219"/>
                <a:gd name="T11" fmla="*/ 118 h 219"/>
                <a:gd name="T12" fmla="*/ 211 w 219"/>
                <a:gd name="T13" fmla="*/ 153 h 219"/>
                <a:gd name="T14" fmla="*/ 193 w 219"/>
                <a:gd name="T15" fmla="*/ 181 h 219"/>
                <a:gd name="T16" fmla="*/ 167 w 219"/>
                <a:gd name="T17" fmla="*/ 205 h 219"/>
                <a:gd name="T18" fmla="*/ 136 w 219"/>
                <a:gd name="T19" fmla="*/ 216 h 219"/>
                <a:gd name="T20" fmla="*/ 101 w 219"/>
                <a:gd name="T21" fmla="*/ 219 h 219"/>
                <a:gd name="T22" fmla="*/ 67 w 219"/>
                <a:gd name="T23" fmla="*/ 213 h 219"/>
                <a:gd name="T24" fmla="*/ 38 w 219"/>
                <a:gd name="T25" fmla="*/ 193 h 219"/>
                <a:gd name="T26" fmla="*/ 15 w 219"/>
                <a:gd name="T27" fmla="*/ 167 h 219"/>
                <a:gd name="T28" fmla="*/ 3 w 219"/>
                <a:gd name="T29" fmla="*/ 138 h 219"/>
                <a:gd name="T30" fmla="*/ 0 w 219"/>
                <a:gd name="T31" fmla="*/ 104 h 219"/>
                <a:gd name="T32" fmla="*/ 9 w 219"/>
                <a:gd name="T33" fmla="*/ 69 h 219"/>
                <a:gd name="T34" fmla="*/ 26 w 219"/>
                <a:gd name="T35" fmla="*/ 40 h 219"/>
                <a:gd name="T36" fmla="*/ 52 w 219"/>
                <a:gd name="T37" fmla="*/ 17 h 219"/>
                <a:gd name="T38" fmla="*/ 84 w 219"/>
                <a:gd name="T39" fmla="*/ 6 h 219"/>
                <a:gd name="T40" fmla="*/ 116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6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7" y="83"/>
                  </a:lnTo>
                  <a:lnTo>
                    <a:pt x="219" y="118"/>
                  </a:lnTo>
                  <a:lnTo>
                    <a:pt x="211" y="153"/>
                  </a:lnTo>
                  <a:lnTo>
                    <a:pt x="193" y="181"/>
                  </a:lnTo>
                  <a:lnTo>
                    <a:pt x="167" y="205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7" y="213"/>
                  </a:lnTo>
                  <a:lnTo>
                    <a:pt x="38" y="193"/>
                  </a:lnTo>
                  <a:lnTo>
                    <a:pt x="15" y="167"/>
                  </a:lnTo>
                  <a:lnTo>
                    <a:pt x="3" y="138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40"/>
                  </a:lnTo>
                  <a:lnTo>
                    <a:pt x="52" y="17"/>
                  </a:lnTo>
                  <a:lnTo>
                    <a:pt x="84" y="6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6" name="Freeform 315">
              <a:extLst>
                <a:ext uri="{FF2B5EF4-FFF2-40B4-BE49-F238E27FC236}">
                  <a16:creationId xmlns:a16="http://schemas.microsoft.com/office/drawing/2014/main" id="{93386C2E-BABC-409E-A626-7936748A735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653653" y="2763526"/>
              <a:ext cx="175213" cy="172813"/>
            </a:xfrm>
            <a:custGeom>
              <a:avLst/>
              <a:gdLst>
                <a:gd name="T0" fmla="*/ 115 w 219"/>
                <a:gd name="T1" fmla="*/ 0 h 216"/>
                <a:gd name="T2" fmla="*/ 150 w 219"/>
                <a:gd name="T3" fmla="*/ 6 h 216"/>
                <a:gd name="T4" fmla="*/ 182 w 219"/>
                <a:gd name="T5" fmla="*/ 23 h 216"/>
                <a:gd name="T6" fmla="*/ 202 w 219"/>
                <a:gd name="T7" fmla="*/ 49 h 216"/>
                <a:gd name="T8" fmla="*/ 216 w 219"/>
                <a:gd name="T9" fmla="*/ 81 h 216"/>
                <a:gd name="T10" fmla="*/ 219 w 219"/>
                <a:gd name="T11" fmla="*/ 116 h 216"/>
                <a:gd name="T12" fmla="*/ 211 w 219"/>
                <a:gd name="T13" fmla="*/ 150 h 216"/>
                <a:gd name="T14" fmla="*/ 193 w 219"/>
                <a:gd name="T15" fmla="*/ 179 h 216"/>
                <a:gd name="T16" fmla="*/ 167 w 219"/>
                <a:gd name="T17" fmla="*/ 202 h 216"/>
                <a:gd name="T18" fmla="*/ 136 w 219"/>
                <a:gd name="T19" fmla="*/ 214 h 216"/>
                <a:gd name="T20" fmla="*/ 104 w 219"/>
                <a:gd name="T21" fmla="*/ 216 h 216"/>
                <a:gd name="T22" fmla="*/ 69 w 219"/>
                <a:gd name="T23" fmla="*/ 211 h 216"/>
                <a:gd name="T24" fmla="*/ 38 w 219"/>
                <a:gd name="T25" fmla="*/ 191 h 216"/>
                <a:gd name="T26" fmla="*/ 17 w 219"/>
                <a:gd name="T27" fmla="*/ 165 h 216"/>
                <a:gd name="T28" fmla="*/ 3 w 219"/>
                <a:gd name="T29" fmla="*/ 136 h 216"/>
                <a:gd name="T30" fmla="*/ 0 w 219"/>
                <a:gd name="T31" fmla="*/ 101 h 216"/>
                <a:gd name="T32" fmla="*/ 9 w 219"/>
                <a:gd name="T33" fmla="*/ 67 h 216"/>
                <a:gd name="T34" fmla="*/ 26 w 219"/>
                <a:gd name="T35" fmla="*/ 38 h 216"/>
                <a:gd name="T36" fmla="*/ 52 w 219"/>
                <a:gd name="T37" fmla="*/ 15 h 216"/>
                <a:gd name="T38" fmla="*/ 84 w 219"/>
                <a:gd name="T39" fmla="*/ 3 h 216"/>
                <a:gd name="T40" fmla="*/ 115 w 219"/>
                <a:gd name="T4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6">
                  <a:moveTo>
                    <a:pt x="115" y="0"/>
                  </a:moveTo>
                  <a:lnTo>
                    <a:pt x="150" y="6"/>
                  </a:lnTo>
                  <a:lnTo>
                    <a:pt x="182" y="23"/>
                  </a:lnTo>
                  <a:lnTo>
                    <a:pt x="202" y="49"/>
                  </a:lnTo>
                  <a:lnTo>
                    <a:pt x="216" y="81"/>
                  </a:lnTo>
                  <a:lnTo>
                    <a:pt x="219" y="116"/>
                  </a:lnTo>
                  <a:lnTo>
                    <a:pt x="211" y="150"/>
                  </a:lnTo>
                  <a:lnTo>
                    <a:pt x="193" y="179"/>
                  </a:lnTo>
                  <a:lnTo>
                    <a:pt x="167" y="202"/>
                  </a:lnTo>
                  <a:lnTo>
                    <a:pt x="136" y="214"/>
                  </a:lnTo>
                  <a:lnTo>
                    <a:pt x="104" y="216"/>
                  </a:lnTo>
                  <a:lnTo>
                    <a:pt x="69" y="211"/>
                  </a:lnTo>
                  <a:lnTo>
                    <a:pt x="38" y="191"/>
                  </a:lnTo>
                  <a:lnTo>
                    <a:pt x="17" y="165"/>
                  </a:lnTo>
                  <a:lnTo>
                    <a:pt x="3" y="136"/>
                  </a:lnTo>
                  <a:lnTo>
                    <a:pt x="0" y="101"/>
                  </a:lnTo>
                  <a:lnTo>
                    <a:pt x="9" y="67"/>
                  </a:lnTo>
                  <a:lnTo>
                    <a:pt x="26" y="38"/>
                  </a:lnTo>
                  <a:lnTo>
                    <a:pt x="52" y="15"/>
                  </a:lnTo>
                  <a:lnTo>
                    <a:pt x="84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7" name="Freeform 316">
              <a:extLst>
                <a:ext uri="{FF2B5EF4-FFF2-40B4-BE49-F238E27FC236}">
                  <a16:creationId xmlns:a16="http://schemas.microsoft.com/office/drawing/2014/main" id="{8C55F47F-E4F6-4387-BA33-163A77E3C0D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794463" y="2105878"/>
              <a:ext cx="175213" cy="175213"/>
            </a:xfrm>
            <a:custGeom>
              <a:avLst/>
              <a:gdLst>
                <a:gd name="T0" fmla="*/ 116 w 219"/>
                <a:gd name="T1" fmla="*/ 0 h 219"/>
                <a:gd name="T2" fmla="*/ 150 w 219"/>
                <a:gd name="T3" fmla="*/ 8 h 219"/>
                <a:gd name="T4" fmla="*/ 182 w 219"/>
                <a:gd name="T5" fmla="*/ 26 h 219"/>
                <a:gd name="T6" fmla="*/ 202 w 219"/>
                <a:gd name="T7" fmla="*/ 52 h 219"/>
                <a:gd name="T8" fmla="*/ 216 w 219"/>
                <a:gd name="T9" fmla="*/ 83 h 219"/>
                <a:gd name="T10" fmla="*/ 219 w 219"/>
                <a:gd name="T11" fmla="*/ 115 h 219"/>
                <a:gd name="T12" fmla="*/ 211 w 219"/>
                <a:gd name="T13" fmla="*/ 150 h 219"/>
                <a:gd name="T14" fmla="*/ 193 w 219"/>
                <a:gd name="T15" fmla="*/ 181 h 219"/>
                <a:gd name="T16" fmla="*/ 167 w 219"/>
                <a:gd name="T17" fmla="*/ 202 h 219"/>
                <a:gd name="T18" fmla="*/ 136 w 219"/>
                <a:gd name="T19" fmla="*/ 216 h 219"/>
                <a:gd name="T20" fmla="*/ 104 w 219"/>
                <a:gd name="T21" fmla="*/ 219 h 219"/>
                <a:gd name="T22" fmla="*/ 69 w 219"/>
                <a:gd name="T23" fmla="*/ 210 h 219"/>
                <a:gd name="T24" fmla="*/ 41 w 219"/>
                <a:gd name="T25" fmla="*/ 193 h 219"/>
                <a:gd name="T26" fmla="*/ 18 w 219"/>
                <a:gd name="T27" fmla="*/ 167 h 219"/>
                <a:gd name="T28" fmla="*/ 3 w 219"/>
                <a:gd name="T29" fmla="*/ 135 h 219"/>
                <a:gd name="T30" fmla="*/ 0 w 219"/>
                <a:gd name="T31" fmla="*/ 104 h 219"/>
                <a:gd name="T32" fmla="*/ 9 w 219"/>
                <a:gd name="T33" fmla="*/ 69 h 219"/>
                <a:gd name="T34" fmla="*/ 26 w 219"/>
                <a:gd name="T35" fmla="*/ 37 h 219"/>
                <a:gd name="T36" fmla="*/ 52 w 219"/>
                <a:gd name="T37" fmla="*/ 17 h 219"/>
                <a:gd name="T38" fmla="*/ 84 w 219"/>
                <a:gd name="T39" fmla="*/ 3 h 219"/>
                <a:gd name="T40" fmla="*/ 116 w 219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9" h="219">
                  <a:moveTo>
                    <a:pt x="116" y="0"/>
                  </a:moveTo>
                  <a:lnTo>
                    <a:pt x="150" y="8"/>
                  </a:lnTo>
                  <a:lnTo>
                    <a:pt x="182" y="26"/>
                  </a:lnTo>
                  <a:lnTo>
                    <a:pt x="202" y="52"/>
                  </a:lnTo>
                  <a:lnTo>
                    <a:pt x="216" y="83"/>
                  </a:lnTo>
                  <a:lnTo>
                    <a:pt x="219" y="115"/>
                  </a:lnTo>
                  <a:lnTo>
                    <a:pt x="211" y="150"/>
                  </a:lnTo>
                  <a:lnTo>
                    <a:pt x="193" y="181"/>
                  </a:lnTo>
                  <a:lnTo>
                    <a:pt x="167" y="202"/>
                  </a:lnTo>
                  <a:lnTo>
                    <a:pt x="136" y="216"/>
                  </a:lnTo>
                  <a:lnTo>
                    <a:pt x="104" y="219"/>
                  </a:lnTo>
                  <a:lnTo>
                    <a:pt x="69" y="210"/>
                  </a:lnTo>
                  <a:lnTo>
                    <a:pt x="41" y="193"/>
                  </a:lnTo>
                  <a:lnTo>
                    <a:pt x="18" y="167"/>
                  </a:lnTo>
                  <a:lnTo>
                    <a:pt x="3" y="135"/>
                  </a:lnTo>
                  <a:lnTo>
                    <a:pt x="0" y="104"/>
                  </a:lnTo>
                  <a:lnTo>
                    <a:pt x="9" y="69"/>
                  </a:lnTo>
                  <a:lnTo>
                    <a:pt x="26" y="37"/>
                  </a:lnTo>
                  <a:lnTo>
                    <a:pt x="52" y="17"/>
                  </a:lnTo>
                  <a:lnTo>
                    <a:pt x="84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8" name="Freeform 317">
              <a:extLst>
                <a:ext uri="{FF2B5EF4-FFF2-40B4-BE49-F238E27FC236}">
                  <a16:creationId xmlns:a16="http://schemas.microsoft.com/office/drawing/2014/main" id="{47DFB199-00AD-41E1-9BDF-CEB1FBA6E86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738459" y="1861860"/>
              <a:ext cx="108808" cy="108008"/>
            </a:xfrm>
            <a:custGeom>
              <a:avLst/>
              <a:gdLst>
                <a:gd name="T0" fmla="*/ 66 w 136"/>
                <a:gd name="T1" fmla="*/ 0 h 135"/>
                <a:gd name="T2" fmla="*/ 92 w 136"/>
                <a:gd name="T3" fmla="*/ 3 h 135"/>
                <a:gd name="T4" fmla="*/ 115 w 136"/>
                <a:gd name="T5" fmla="*/ 17 h 135"/>
                <a:gd name="T6" fmla="*/ 130 w 136"/>
                <a:gd name="T7" fmla="*/ 40 h 135"/>
                <a:gd name="T8" fmla="*/ 136 w 136"/>
                <a:gd name="T9" fmla="*/ 66 h 135"/>
                <a:gd name="T10" fmla="*/ 130 w 136"/>
                <a:gd name="T11" fmla="*/ 92 h 135"/>
                <a:gd name="T12" fmla="*/ 115 w 136"/>
                <a:gd name="T13" fmla="*/ 115 h 135"/>
                <a:gd name="T14" fmla="*/ 95 w 136"/>
                <a:gd name="T15" fmla="*/ 130 h 135"/>
                <a:gd name="T16" fmla="*/ 69 w 136"/>
                <a:gd name="T17" fmla="*/ 135 h 135"/>
                <a:gd name="T18" fmla="*/ 43 w 136"/>
                <a:gd name="T19" fmla="*/ 130 h 135"/>
                <a:gd name="T20" fmla="*/ 20 w 136"/>
                <a:gd name="T21" fmla="*/ 115 h 135"/>
                <a:gd name="T22" fmla="*/ 6 w 136"/>
                <a:gd name="T23" fmla="*/ 95 h 135"/>
                <a:gd name="T24" fmla="*/ 0 w 136"/>
                <a:gd name="T25" fmla="*/ 69 h 135"/>
                <a:gd name="T26" fmla="*/ 6 w 136"/>
                <a:gd name="T27" fmla="*/ 40 h 135"/>
                <a:gd name="T28" fmla="*/ 20 w 136"/>
                <a:gd name="T29" fmla="*/ 20 h 135"/>
                <a:gd name="T30" fmla="*/ 40 w 136"/>
                <a:gd name="T31" fmla="*/ 6 h 135"/>
                <a:gd name="T32" fmla="*/ 66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6" y="0"/>
                  </a:moveTo>
                  <a:lnTo>
                    <a:pt x="92" y="3"/>
                  </a:lnTo>
                  <a:lnTo>
                    <a:pt x="115" y="17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0" y="92"/>
                  </a:lnTo>
                  <a:lnTo>
                    <a:pt x="115" y="115"/>
                  </a:lnTo>
                  <a:lnTo>
                    <a:pt x="95" y="130"/>
                  </a:lnTo>
                  <a:lnTo>
                    <a:pt x="69" y="135"/>
                  </a:lnTo>
                  <a:lnTo>
                    <a:pt x="43" y="130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0"/>
                  </a:lnTo>
                  <a:lnTo>
                    <a:pt x="20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9" name="Freeform 318">
              <a:extLst>
                <a:ext uri="{FF2B5EF4-FFF2-40B4-BE49-F238E27FC236}">
                  <a16:creationId xmlns:a16="http://schemas.microsoft.com/office/drawing/2014/main" id="{DCF6AADE-F4F8-4AE3-8712-D5AD09C20A9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050482" y="1269017"/>
              <a:ext cx="110408" cy="108008"/>
            </a:xfrm>
            <a:custGeom>
              <a:avLst/>
              <a:gdLst>
                <a:gd name="T0" fmla="*/ 69 w 138"/>
                <a:gd name="T1" fmla="*/ 0 h 135"/>
                <a:gd name="T2" fmla="*/ 95 w 138"/>
                <a:gd name="T3" fmla="*/ 5 h 135"/>
                <a:gd name="T4" fmla="*/ 118 w 138"/>
                <a:gd name="T5" fmla="*/ 20 h 135"/>
                <a:gd name="T6" fmla="*/ 133 w 138"/>
                <a:gd name="T7" fmla="*/ 40 h 135"/>
                <a:gd name="T8" fmla="*/ 138 w 138"/>
                <a:gd name="T9" fmla="*/ 66 h 135"/>
                <a:gd name="T10" fmla="*/ 133 w 138"/>
                <a:gd name="T11" fmla="*/ 95 h 135"/>
                <a:gd name="T12" fmla="*/ 118 w 138"/>
                <a:gd name="T13" fmla="*/ 115 h 135"/>
                <a:gd name="T14" fmla="*/ 95 w 138"/>
                <a:gd name="T15" fmla="*/ 129 h 135"/>
                <a:gd name="T16" fmla="*/ 69 w 138"/>
                <a:gd name="T17" fmla="*/ 135 h 135"/>
                <a:gd name="T18" fmla="*/ 43 w 138"/>
                <a:gd name="T19" fmla="*/ 132 h 135"/>
                <a:gd name="T20" fmla="*/ 20 w 138"/>
                <a:gd name="T21" fmla="*/ 115 h 135"/>
                <a:gd name="T22" fmla="*/ 6 w 138"/>
                <a:gd name="T23" fmla="*/ 95 h 135"/>
                <a:gd name="T24" fmla="*/ 0 w 138"/>
                <a:gd name="T25" fmla="*/ 69 h 135"/>
                <a:gd name="T26" fmla="*/ 6 w 138"/>
                <a:gd name="T27" fmla="*/ 43 h 135"/>
                <a:gd name="T28" fmla="*/ 20 w 138"/>
                <a:gd name="T29" fmla="*/ 20 h 135"/>
                <a:gd name="T30" fmla="*/ 43 w 138"/>
                <a:gd name="T31" fmla="*/ 5 h 135"/>
                <a:gd name="T32" fmla="*/ 69 w 138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5">
                  <a:moveTo>
                    <a:pt x="69" y="0"/>
                  </a:moveTo>
                  <a:lnTo>
                    <a:pt x="95" y="5"/>
                  </a:lnTo>
                  <a:lnTo>
                    <a:pt x="118" y="20"/>
                  </a:lnTo>
                  <a:lnTo>
                    <a:pt x="133" y="40"/>
                  </a:lnTo>
                  <a:lnTo>
                    <a:pt x="138" y="66"/>
                  </a:lnTo>
                  <a:lnTo>
                    <a:pt x="133" y="95"/>
                  </a:lnTo>
                  <a:lnTo>
                    <a:pt x="118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3" y="132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5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0" name="Freeform 319">
              <a:extLst>
                <a:ext uri="{FF2B5EF4-FFF2-40B4-BE49-F238E27FC236}">
                  <a16:creationId xmlns:a16="http://schemas.microsoft.com/office/drawing/2014/main" id="{2437DF3B-0937-44B3-9E86-B8FE5063FB5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181691" y="1084203"/>
              <a:ext cx="108008" cy="111208"/>
            </a:xfrm>
            <a:custGeom>
              <a:avLst/>
              <a:gdLst>
                <a:gd name="T0" fmla="*/ 66 w 135"/>
                <a:gd name="T1" fmla="*/ 0 h 139"/>
                <a:gd name="T2" fmla="*/ 95 w 135"/>
                <a:gd name="T3" fmla="*/ 6 h 139"/>
                <a:gd name="T4" fmla="*/ 115 w 135"/>
                <a:gd name="T5" fmla="*/ 20 h 139"/>
                <a:gd name="T6" fmla="*/ 129 w 135"/>
                <a:gd name="T7" fmla="*/ 44 h 139"/>
                <a:gd name="T8" fmla="*/ 135 w 135"/>
                <a:gd name="T9" fmla="*/ 69 h 139"/>
                <a:gd name="T10" fmla="*/ 132 w 135"/>
                <a:gd name="T11" fmla="*/ 95 h 139"/>
                <a:gd name="T12" fmla="*/ 118 w 135"/>
                <a:gd name="T13" fmla="*/ 118 h 139"/>
                <a:gd name="T14" fmla="*/ 95 w 135"/>
                <a:gd name="T15" fmla="*/ 133 h 139"/>
                <a:gd name="T16" fmla="*/ 69 w 135"/>
                <a:gd name="T17" fmla="*/ 139 h 139"/>
                <a:gd name="T18" fmla="*/ 43 w 135"/>
                <a:gd name="T19" fmla="*/ 133 h 139"/>
                <a:gd name="T20" fmla="*/ 20 w 135"/>
                <a:gd name="T21" fmla="*/ 118 h 139"/>
                <a:gd name="T22" fmla="*/ 5 w 135"/>
                <a:gd name="T23" fmla="*/ 95 h 139"/>
                <a:gd name="T24" fmla="*/ 0 w 135"/>
                <a:gd name="T25" fmla="*/ 69 h 139"/>
                <a:gd name="T26" fmla="*/ 5 w 135"/>
                <a:gd name="T27" fmla="*/ 44 h 139"/>
                <a:gd name="T28" fmla="*/ 20 w 135"/>
                <a:gd name="T29" fmla="*/ 20 h 139"/>
                <a:gd name="T30" fmla="*/ 43 w 135"/>
                <a:gd name="T31" fmla="*/ 6 h 139"/>
                <a:gd name="T32" fmla="*/ 66 w 135"/>
                <a:gd name="T33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9">
                  <a:moveTo>
                    <a:pt x="66" y="0"/>
                  </a:moveTo>
                  <a:lnTo>
                    <a:pt x="95" y="6"/>
                  </a:lnTo>
                  <a:lnTo>
                    <a:pt x="115" y="20"/>
                  </a:lnTo>
                  <a:lnTo>
                    <a:pt x="129" y="44"/>
                  </a:lnTo>
                  <a:lnTo>
                    <a:pt x="135" y="69"/>
                  </a:lnTo>
                  <a:lnTo>
                    <a:pt x="132" y="95"/>
                  </a:lnTo>
                  <a:lnTo>
                    <a:pt x="118" y="118"/>
                  </a:lnTo>
                  <a:lnTo>
                    <a:pt x="95" y="133"/>
                  </a:lnTo>
                  <a:lnTo>
                    <a:pt x="69" y="139"/>
                  </a:lnTo>
                  <a:lnTo>
                    <a:pt x="43" y="133"/>
                  </a:lnTo>
                  <a:lnTo>
                    <a:pt x="20" y="118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4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1" name="Freeform 320">
              <a:extLst>
                <a:ext uri="{FF2B5EF4-FFF2-40B4-BE49-F238E27FC236}">
                  <a16:creationId xmlns:a16="http://schemas.microsoft.com/office/drawing/2014/main" id="{249C7261-3909-40A4-A69F-8D5B34EFF8A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2087503" y="-278296"/>
              <a:ext cx="173613" cy="175213"/>
            </a:xfrm>
            <a:custGeom>
              <a:avLst/>
              <a:gdLst>
                <a:gd name="T0" fmla="*/ 116 w 217"/>
                <a:gd name="T1" fmla="*/ 0 h 219"/>
                <a:gd name="T2" fmla="*/ 150 w 217"/>
                <a:gd name="T3" fmla="*/ 9 h 219"/>
                <a:gd name="T4" fmla="*/ 179 w 217"/>
                <a:gd name="T5" fmla="*/ 26 h 219"/>
                <a:gd name="T6" fmla="*/ 202 w 217"/>
                <a:gd name="T7" fmla="*/ 52 h 219"/>
                <a:gd name="T8" fmla="*/ 214 w 217"/>
                <a:gd name="T9" fmla="*/ 84 h 219"/>
                <a:gd name="T10" fmla="*/ 217 w 217"/>
                <a:gd name="T11" fmla="*/ 115 h 219"/>
                <a:gd name="T12" fmla="*/ 211 w 217"/>
                <a:gd name="T13" fmla="*/ 150 h 219"/>
                <a:gd name="T14" fmla="*/ 191 w 217"/>
                <a:gd name="T15" fmla="*/ 182 h 219"/>
                <a:gd name="T16" fmla="*/ 165 w 217"/>
                <a:gd name="T17" fmla="*/ 202 h 219"/>
                <a:gd name="T18" fmla="*/ 136 w 217"/>
                <a:gd name="T19" fmla="*/ 216 h 219"/>
                <a:gd name="T20" fmla="*/ 101 w 217"/>
                <a:gd name="T21" fmla="*/ 219 h 219"/>
                <a:gd name="T22" fmla="*/ 67 w 217"/>
                <a:gd name="T23" fmla="*/ 210 h 219"/>
                <a:gd name="T24" fmla="*/ 38 w 217"/>
                <a:gd name="T25" fmla="*/ 193 h 219"/>
                <a:gd name="T26" fmla="*/ 15 w 217"/>
                <a:gd name="T27" fmla="*/ 167 h 219"/>
                <a:gd name="T28" fmla="*/ 3 w 217"/>
                <a:gd name="T29" fmla="*/ 135 h 219"/>
                <a:gd name="T30" fmla="*/ 0 w 217"/>
                <a:gd name="T31" fmla="*/ 104 h 219"/>
                <a:gd name="T32" fmla="*/ 6 w 217"/>
                <a:gd name="T33" fmla="*/ 69 h 219"/>
                <a:gd name="T34" fmla="*/ 26 w 217"/>
                <a:gd name="T35" fmla="*/ 37 h 219"/>
                <a:gd name="T36" fmla="*/ 49 w 217"/>
                <a:gd name="T37" fmla="*/ 17 h 219"/>
                <a:gd name="T38" fmla="*/ 81 w 217"/>
                <a:gd name="T39" fmla="*/ 3 h 219"/>
                <a:gd name="T40" fmla="*/ 116 w 217"/>
                <a:gd name="T4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7" h="219">
                  <a:moveTo>
                    <a:pt x="116" y="0"/>
                  </a:moveTo>
                  <a:lnTo>
                    <a:pt x="150" y="9"/>
                  </a:lnTo>
                  <a:lnTo>
                    <a:pt x="179" y="26"/>
                  </a:lnTo>
                  <a:lnTo>
                    <a:pt x="202" y="52"/>
                  </a:lnTo>
                  <a:lnTo>
                    <a:pt x="214" y="84"/>
                  </a:lnTo>
                  <a:lnTo>
                    <a:pt x="217" y="115"/>
                  </a:lnTo>
                  <a:lnTo>
                    <a:pt x="211" y="150"/>
                  </a:lnTo>
                  <a:lnTo>
                    <a:pt x="191" y="182"/>
                  </a:lnTo>
                  <a:lnTo>
                    <a:pt x="165" y="202"/>
                  </a:lnTo>
                  <a:lnTo>
                    <a:pt x="136" y="216"/>
                  </a:lnTo>
                  <a:lnTo>
                    <a:pt x="101" y="219"/>
                  </a:lnTo>
                  <a:lnTo>
                    <a:pt x="67" y="210"/>
                  </a:lnTo>
                  <a:lnTo>
                    <a:pt x="38" y="193"/>
                  </a:lnTo>
                  <a:lnTo>
                    <a:pt x="15" y="167"/>
                  </a:lnTo>
                  <a:lnTo>
                    <a:pt x="3" y="135"/>
                  </a:lnTo>
                  <a:lnTo>
                    <a:pt x="0" y="104"/>
                  </a:lnTo>
                  <a:lnTo>
                    <a:pt x="6" y="69"/>
                  </a:lnTo>
                  <a:lnTo>
                    <a:pt x="26" y="37"/>
                  </a:lnTo>
                  <a:lnTo>
                    <a:pt x="49" y="17"/>
                  </a:lnTo>
                  <a:lnTo>
                    <a:pt x="81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2" name="Freeform 321">
              <a:extLst>
                <a:ext uri="{FF2B5EF4-FFF2-40B4-BE49-F238E27FC236}">
                  <a16:creationId xmlns:a16="http://schemas.microsoft.com/office/drawing/2014/main" id="{6548A2B9-EA14-499D-BB0F-1EA86542067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753079" y="6518999"/>
              <a:ext cx="108808" cy="111208"/>
            </a:xfrm>
            <a:custGeom>
              <a:avLst/>
              <a:gdLst>
                <a:gd name="T0" fmla="*/ 69 w 136"/>
                <a:gd name="T1" fmla="*/ 0 h 139"/>
                <a:gd name="T2" fmla="*/ 95 w 136"/>
                <a:gd name="T3" fmla="*/ 6 h 139"/>
                <a:gd name="T4" fmla="*/ 118 w 136"/>
                <a:gd name="T5" fmla="*/ 20 h 139"/>
                <a:gd name="T6" fmla="*/ 133 w 136"/>
                <a:gd name="T7" fmla="*/ 43 h 139"/>
                <a:gd name="T8" fmla="*/ 136 w 136"/>
                <a:gd name="T9" fmla="*/ 69 h 139"/>
                <a:gd name="T10" fmla="*/ 133 w 136"/>
                <a:gd name="T11" fmla="*/ 95 h 139"/>
                <a:gd name="T12" fmla="*/ 116 w 136"/>
                <a:gd name="T13" fmla="*/ 118 h 139"/>
                <a:gd name="T14" fmla="*/ 95 w 136"/>
                <a:gd name="T15" fmla="*/ 133 h 139"/>
                <a:gd name="T16" fmla="*/ 69 w 136"/>
                <a:gd name="T17" fmla="*/ 139 h 139"/>
                <a:gd name="T18" fmla="*/ 43 w 136"/>
                <a:gd name="T19" fmla="*/ 133 h 139"/>
                <a:gd name="T20" fmla="*/ 20 w 136"/>
                <a:gd name="T21" fmla="*/ 118 h 139"/>
                <a:gd name="T22" fmla="*/ 6 w 136"/>
                <a:gd name="T23" fmla="*/ 95 h 139"/>
                <a:gd name="T24" fmla="*/ 0 w 136"/>
                <a:gd name="T25" fmla="*/ 69 h 139"/>
                <a:gd name="T26" fmla="*/ 6 w 136"/>
                <a:gd name="T27" fmla="*/ 43 h 139"/>
                <a:gd name="T28" fmla="*/ 20 w 136"/>
                <a:gd name="T29" fmla="*/ 20 h 139"/>
                <a:gd name="T30" fmla="*/ 43 w 136"/>
                <a:gd name="T31" fmla="*/ 6 h 139"/>
                <a:gd name="T32" fmla="*/ 69 w 136"/>
                <a:gd name="T33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9">
                  <a:moveTo>
                    <a:pt x="69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3" y="43"/>
                  </a:lnTo>
                  <a:lnTo>
                    <a:pt x="136" y="69"/>
                  </a:lnTo>
                  <a:lnTo>
                    <a:pt x="133" y="95"/>
                  </a:lnTo>
                  <a:lnTo>
                    <a:pt x="116" y="118"/>
                  </a:lnTo>
                  <a:lnTo>
                    <a:pt x="95" y="133"/>
                  </a:lnTo>
                  <a:lnTo>
                    <a:pt x="69" y="139"/>
                  </a:lnTo>
                  <a:lnTo>
                    <a:pt x="43" y="133"/>
                  </a:lnTo>
                  <a:lnTo>
                    <a:pt x="20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3" name="Freeform 322">
              <a:extLst>
                <a:ext uri="{FF2B5EF4-FFF2-40B4-BE49-F238E27FC236}">
                  <a16:creationId xmlns:a16="http://schemas.microsoft.com/office/drawing/2014/main" id="{21274E7B-C82C-4268-A1CF-EF415E362540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529862" y="6505399"/>
              <a:ext cx="108008" cy="108808"/>
            </a:xfrm>
            <a:custGeom>
              <a:avLst/>
              <a:gdLst>
                <a:gd name="T0" fmla="*/ 66 w 135"/>
                <a:gd name="T1" fmla="*/ 0 h 136"/>
                <a:gd name="T2" fmla="*/ 95 w 135"/>
                <a:gd name="T3" fmla="*/ 6 h 136"/>
                <a:gd name="T4" fmla="*/ 115 w 135"/>
                <a:gd name="T5" fmla="*/ 21 h 136"/>
                <a:gd name="T6" fmla="*/ 132 w 135"/>
                <a:gd name="T7" fmla="*/ 44 h 136"/>
                <a:gd name="T8" fmla="*/ 135 w 135"/>
                <a:gd name="T9" fmla="*/ 70 h 136"/>
                <a:gd name="T10" fmla="*/ 132 w 135"/>
                <a:gd name="T11" fmla="*/ 95 h 136"/>
                <a:gd name="T12" fmla="*/ 115 w 135"/>
                <a:gd name="T13" fmla="*/ 119 h 136"/>
                <a:gd name="T14" fmla="*/ 95 w 135"/>
                <a:gd name="T15" fmla="*/ 133 h 136"/>
                <a:gd name="T16" fmla="*/ 69 w 135"/>
                <a:gd name="T17" fmla="*/ 136 h 136"/>
                <a:gd name="T18" fmla="*/ 43 w 135"/>
                <a:gd name="T19" fmla="*/ 133 h 136"/>
                <a:gd name="T20" fmla="*/ 20 w 135"/>
                <a:gd name="T21" fmla="*/ 119 h 136"/>
                <a:gd name="T22" fmla="*/ 6 w 135"/>
                <a:gd name="T23" fmla="*/ 95 h 136"/>
                <a:gd name="T24" fmla="*/ 0 w 135"/>
                <a:gd name="T25" fmla="*/ 70 h 136"/>
                <a:gd name="T26" fmla="*/ 6 w 135"/>
                <a:gd name="T27" fmla="*/ 44 h 136"/>
                <a:gd name="T28" fmla="*/ 20 w 135"/>
                <a:gd name="T29" fmla="*/ 21 h 136"/>
                <a:gd name="T30" fmla="*/ 43 w 135"/>
                <a:gd name="T31" fmla="*/ 6 h 136"/>
                <a:gd name="T32" fmla="*/ 66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6" y="0"/>
                  </a:moveTo>
                  <a:lnTo>
                    <a:pt x="95" y="6"/>
                  </a:lnTo>
                  <a:lnTo>
                    <a:pt x="115" y="21"/>
                  </a:lnTo>
                  <a:lnTo>
                    <a:pt x="132" y="44"/>
                  </a:lnTo>
                  <a:lnTo>
                    <a:pt x="135" y="70"/>
                  </a:lnTo>
                  <a:lnTo>
                    <a:pt x="132" y="95"/>
                  </a:lnTo>
                  <a:lnTo>
                    <a:pt x="115" y="119"/>
                  </a:lnTo>
                  <a:lnTo>
                    <a:pt x="95" y="133"/>
                  </a:lnTo>
                  <a:lnTo>
                    <a:pt x="69" y="136"/>
                  </a:lnTo>
                  <a:lnTo>
                    <a:pt x="43" y="133"/>
                  </a:lnTo>
                  <a:lnTo>
                    <a:pt x="20" y="119"/>
                  </a:lnTo>
                  <a:lnTo>
                    <a:pt x="6" y="95"/>
                  </a:lnTo>
                  <a:lnTo>
                    <a:pt x="0" y="70"/>
                  </a:lnTo>
                  <a:lnTo>
                    <a:pt x="6" y="44"/>
                  </a:lnTo>
                  <a:lnTo>
                    <a:pt x="20" y="21"/>
                  </a:lnTo>
                  <a:lnTo>
                    <a:pt x="43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4" name="Freeform 323">
              <a:extLst>
                <a:ext uri="{FF2B5EF4-FFF2-40B4-BE49-F238E27FC236}">
                  <a16:creationId xmlns:a16="http://schemas.microsoft.com/office/drawing/2014/main" id="{EACF2873-58E0-4E64-944C-D91EA38C6F7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305846" y="6473396"/>
              <a:ext cx="110408" cy="110408"/>
            </a:xfrm>
            <a:custGeom>
              <a:avLst/>
              <a:gdLst>
                <a:gd name="T0" fmla="*/ 69 w 138"/>
                <a:gd name="T1" fmla="*/ 0 h 138"/>
                <a:gd name="T2" fmla="*/ 95 w 138"/>
                <a:gd name="T3" fmla="*/ 6 h 138"/>
                <a:gd name="T4" fmla="*/ 118 w 138"/>
                <a:gd name="T5" fmla="*/ 20 h 138"/>
                <a:gd name="T6" fmla="*/ 132 w 138"/>
                <a:gd name="T7" fmla="*/ 43 h 138"/>
                <a:gd name="T8" fmla="*/ 138 w 138"/>
                <a:gd name="T9" fmla="*/ 69 h 138"/>
                <a:gd name="T10" fmla="*/ 132 w 138"/>
                <a:gd name="T11" fmla="*/ 95 h 138"/>
                <a:gd name="T12" fmla="*/ 118 w 138"/>
                <a:gd name="T13" fmla="*/ 118 h 138"/>
                <a:gd name="T14" fmla="*/ 95 w 138"/>
                <a:gd name="T15" fmla="*/ 132 h 138"/>
                <a:gd name="T16" fmla="*/ 69 w 138"/>
                <a:gd name="T17" fmla="*/ 138 h 138"/>
                <a:gd name="T18" fmla="*/ 43 w 138"/>
                <a:gd name="T19" fmla="*/ 132 h 138"/>
                <a:gd name="T20" fmla="*/ 20 w 138"/>
                <a:gd name="T21" fmla="*/ 118 h 138"/>
                <a:gd name="T22" fmla="*/ 5 w 138"/>
                <a:gd name="T23" fmla="*/ 95 h 138"/>
                <a:gd name="T24" fmla="*/ 0 w 138"/>
                <a:gd name="T25" fmla="*/ 69 h 138"/>
                <a:gd name="T26" fmla="*/ 5 w 138"/>
                <a:gd name="T27" fmla="*/ 43 h 138"/>
                <a:gd name="T28" fmla="*/ 20 w 138"/>
                <a:gd name="T29" fmla="*/ 20 h 138"/>
                <a:gd name="T30" fmla="*/ 43 w 138"/>
                <a:gd name="T31" fmla="*/ 6 h 138"/>
                <a:gd name="T32" fmla="*/ 69 w 138"/>
                <a:gd name="T3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8">
                  <a:moveTo>
                    <a:pt x="69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2" y="43"/>
                  </a:lnTo>
                  <a:lnTo>
                    <a:pt x="138" y="69"/>
                  </a:lnTo>
                  <a:lnTo>
                    <a:pt x="132" y="95"/>
                  </a:lnTo>
                  <a:lnTo>
                    <a:pt x="118" y="118"/>
                  </a:lnTo>
                  <a:lnTo>
                    <a:pt x="95" y="132"/>
                  </a:lnTo>
                  <a:lnTo>
                    <a:pt x="69" y="138"/>
                  </a:lnTo>
                  <a:lnTo>
                    <a:pt x="43" y="132"/>
                  </a:lnTo>
                  <a:lnTo>
                    <a:pt x="20" y="118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5" name="Freeform 324">
              <a:extLst>
                <a:ext uri="{FF2B5EF4-FFF2-40B4-BE49-F238E27FC236}">
                  <a16:creationId xmlns:a16="http://schemas.microsoft.com/office/drawing/2014/main" id="{4D0D4913-AB1A-4F47-8798-AF74D13B955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869814" y="6369389"/>
              <a:ext cx="111208" cy="108808"/>
            </a:xfrm>
            <a:custGeom>
              <a:avLst/>
              <a:gdLst>
                <a:gd name="T0" fmla="*/ 70 w 139"/>
                <a:gd name="T1" fmla="*/ 0 h 136"/>
                <a:gd name="T2" fmla="*/ 96 w 139"/>
                <a:gd name="T3" fmla="*/ 6 h 136"/>
                <a:gd name="T4" fmla="*/ 119 w 139"/>
                <a:gd name="T5" fmla="*/ 21 h 136"/>
                <a:gd name="T6" fmla="*/ 133 w 139"/>
                <a:gd name="T7" fmla="*/ 41 h 136"/>
                <a:gd name="T8" fmla="*/ 139 w 139"/>
                <a:gd name="T9" fmla="*/ 67 h 136"/>
                <a:gd name="T10" fmla="*/ 133 w 139"/>
                <a:gd name="T11" fmla="*/ 93 h 136"/>
                <a:gd name="T12" fmla="*/ 119 w 139"/>
                <a:gd name="T13" fmla="*/ 116 h 136"/>
                <a:gd name="T14" fmla="*/ 96 w 139"/>
                <a:gd name="T15" fmla="*/ 130 h 136"/>
                <a:gd name="T16" fmla="*/ 70 w 139"/>
                <a:gd name="T17" fmla="*/ 136 h 136"/>
                <a:gd name="T18" fmla="*/ 44 w 139"/>
                <a:gd name="T19" fmla="*/ 130 h 136"/>
                <a:gd name="T20" fmla="*/ 21 w 139"/>
                <a:gd name="T21" fmla="*/ 116 h 136"/>
                <a:gd name="T22" fmla="*/ 6 w 139"/>
                <a:gd name="T23" fmla="*/ 95 h 136"/>
                <a:gd name="T24" fmla="*/ 0 w 139"/>
                <a:gd name="T25" fmla="*/ 70 h 136"/>
                <a:gd name="T26" fmla="*/ 6 w 139"/>
                <a:gd name="T27" fmla="*/ 44 h 136"/>
                <a:gd name="T28" fmla="*/ 21 w 139"/>
                <a:gd name="T29" fmla="*/ 21 h 136"/>
                <a:gd name="T30" fmla="*/ 44 w 139"/>
                <a:gd name="T31" fmla="*/ 6 h 136"/>
                <a:gd name="T32" fmla="*/ 70 w 139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6">
                  <a:moveTo>
                    <a:pt x="70" y="0"/>
                  </a:moveTo>
                  <a:lnTo>
                    <a:pt x="96" y="6"/>
                  </a:lnTo>
                  <a:lnTo>
                    <a:pt x="119" y="21"/>
                  </a:lnTo>
                  <a:lnTo>
                    <a:pt x="133" y="41"/>
                  </a:lnTo>
                  <a:lnTo>
                    <a:pt x="139" y="67"/>
                  </a:lnTo>
                  <a:lnTo>
                    <a:pt x="133" y="93"/>
                  </a:lnTo>
                  <a:lnTo>
                    <a:pt x="119" y="116"/>
                  </a:lnTo>
                  <a:lnTo>
                    <a:pt x="96" y="130"/>
                  </a:lnTo>
                  <a:lnTo>
                    <a:pt x="70" y="136"/>
                  </a:lnTo>
                  <a:lnTo>
                    <a:pt x="44" y="130"/>
                  </a:lnTo>
                  <a:lnTo>
                    <a:pt x="21" y="116"/>
                  </a:lnTo>
                  <a:lnTo>
                    <a:pt x="6" y="95"/>
                  </a:lnTo>
                  <a:lnTo>
                    <a:pt x="0" y="70"/>
                  </a:lnTo>
                  <a:lnTo>
                    <a:pt x="6" y="44"/>
                  </a:lnTo>
                  <a:lnTo>
                    <a:pt x="21" y="21"/>
                  </a:lnTo>
                  <a:lnTo>
                    <a:pt x="44" y="6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6" name="Freeform 325">
              <a:extLst>
                <a:ext uri="{FF2B5EF4-FFF2-40B4-BE49-F238E27FC236}">
                  <a16:creationId xmlns:a16="http://schemas.microsoft.com/office/drawing/2014/main" id="{F0F32807-42DB-4475-98F0-E05FB89ADA8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660199" y="6295783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2 w 135"/>
                <a:gd name="T3" fmla="*/ 5 h 135"/>
                <a:gd name="T4" fmla="*/ 115 w 135"/>
                <a:gd name="T5" fmla="*/ 20 h 135"/>
                <a:gd name="T6" fmla="*/ 129 w 135"/>
                <a:gd name="T7" fmla="*/ 40 h 135"/>
                <a:gd name="T8" fmla="*/ 135 w 135"/>
                <a:gd name="T9" fmla="*/ 66 h 135"/>
                <a:gd name="T10" fmla="*/ 132 w 135"/>
                <a:gd name="T11" fmla="*/ 92 h 135"/>
                <a:gd name="T12" fmla="*/ 115 w 135"/>
                <a:gd name="T13" fmla="*/ 115 h 135"/>
                <a:gd name="T14" fmla="*/ 95 w 135"/>
                <a:gd name="T15" fmla="*/ 129 h 135"/>
                <a:gd name="T16" fmla="*/ 69 w 135"/>
                <a:gd name="T17" fmla="*/ 135 h 135"/>
                <a:gd name="T18" fmla="*/ 43 w 135"/>
                <a:gd name="T19" fmla="*/ 129 h 135"/>
                <a:gd name="T20" fmla="*/ 20 w 135"/>
                <a:gd name="T21" fmla="*/ 115 h 135"/>
                <a:gd name="T22" fmla="*/ 5 w 135"/>
                <a:gd name="T23" fmla="*/ 95 h 135"/>
                <a:gd name="T24" fmla="*/ 0 w 135"/>
                <a:gd name="T25" fmla="*/ 69 h 135"/>
                <a:gd name="T26" fmla="*/ 5 w 135"/>
                <a:gd name="T27" fmla="*/ 40 h 135"/>
                <a:gd name="T28" fmla="*/ 20 w 135"/>
                <a:gd name="T29" fmla="*/ 20 h 135"/>
                <a:gd name="T30" fmla="*/ 40 w 135"/>
                <a:gd name="T31" fmla="*/ 5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2" y="5"/>
                  </a:lnTo>
                  <a:lnTo>
                    <a:pt x="115" y="20"/>
                  </a:lnTo>
                  <a:lnTo>
                    <a:pt x="129" y="40"/>
                  </a:lnTo>
                  <a:lnTo>
                    <a:pt x="135" y="66"/>
                  </a:lnTo>
                  <a:lnTo>
                    <a:pt x="132" y="92"/>
                  </a:lnTo>
                  <a:lnTo>
                    <a:pt x="115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3" y="129"/>
                  </a:lnTo>
                  <a:lnTo>
                    <a:pt x="20" y="115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0"/>
                  </a:lnTo>
                  <a:lnTo>
                    <a:pt x="20" y="20"/>
                  </a:lnTo>
                  <a:lnTo>
                    <a:pt x="40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7" name="Freeform 326">
              <a:extLst>
                <a:ext uri="{FF2B5EF4-FFF2-40B4-BE49-F238E27FC236}">
                  <a16:creationId xmlns:a16="http://schemas.microsoft.com/office/drawing/2014/main" id="{E59C00EA-85C9-4092-AFC8-BE7B53EFDF8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452184" y="6207777"/>
              <a:ext cx="108808" cy="108808"/>
            </a:xfrm>
            <a:custGeom>
              <a:avLst/>
              <a:gdLst>
                <a:gd name="T0" fmla="*/ 66 w 136"/>
                <a:gd name="T1" fmla="*/ 0 h 136"/>
                <a:gd name="T2" fmla="*/ 92 w 136"/>
                <a:gd name="T3" fmla="*/ 6 h 136"/>
                <a:gd name="T4" fmla="*/ 115 w 136"/>
                <a:gd name="T5" fmla="*/ 20 h 136"/>
                <a:gd name="T6" fmla="*/ 130 w 136"/>
                <a:gd name="T7" fmla="*/ 40 h 136"/>
                <a:gd name="T8" fmla="*/ 136 w 136"/>
                <a:gd name="T9" fmla="*/ 66 h 136"/>
                <a:gd name="T10" fmla="*/ 130 w 136"/>
                <a:gd name="T11" fmla="*/ 92 h 136"/>
                <a:gd name="T12" fmla="*/ 115 w 136"/>
                <a:gd name="T13" fmla="*/ 115 h 136"/>
                <a:gd name="T14" fmla="*/ 92 w 136"/>
                <a:gd name="T15" fmla="*/ 130 h 136"/>
                <a:gd name="T16" fmla="*/ 66 w 136"/>
                <a:gd name="T17" fmla="*/ 136 h 136"/>
                <a:gd name="T18" fmla="*/ 40 w 136"/>
                <a:gd name="T19" fmla="*/ 130 h 136"/>
                <a:gd name="T20" fmla="*/ 17 w 136"/>
                <a:gd name="T21" fmla="*/ 115 h 136"/>
                <a:gd name="T22" fmla="*/ 3 w 136"/>
                <a:gd name="T23" fmla="*/ 95 h 136"/>
                <a:gd name="T24" fmla="*/ 0 w 136"/>
                <a:gd name="T25" fmla="*/ 69 h 136"/>
                <a:gd name="T26" fmla="*/ 6 w 136"/>
                <a:gd name="T27" fmla="*/ 43 h 136"/>
                <a:gd name="T28" fmla="*/ 20 w 136"/>
                <a:gd name="T29" fmla="*/ 20 h 136"/>
                <a:gd name="T30" fmla="*/ 40 w 136"/>
                <a:gd name="T31" fmla="*/ 6 h 136"/>
                <a:gd name="T32" fmla="*/ 66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6" y="0"/>
                  </a:moveTo>
                  <a:lnTo>
                    <a:pt x="92" y="6"/>
                  </a:lnTo>
                  <a:lnTo>
                    <a:pt x="115" y="20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0" y="92"/>
                  </a:lnTo>
                  <a:lnTo>
                    <a:pt x="115" y="115"/>
                  </a:lnTo>
                  <a:lnTo>
                    <a:pt x="92" y="130"/>
                  </a:lnTo>
                  <a:lnTo>
                    <a:pt x="66" y="136"/>
                  </a:lnTo>
                  <a:lnTo>
                    <a:pt x="40" y="130"/>
                  </a:lnTo>
                  <a:lnTo>
                    <a:pt x="17" y="115"/>
                  </a:lnTo>
                  <a:lnTo>
                    <a:pt x="3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8" name="Freeform 327">
              <a:extLst>
                <a:ext uri="{FF2B5EF4-FFF2-40B4-BE49-F238E27FC236}">
                  <a16:creationId xmlns:a16="http://schemas.microsoft.com/office/drawing/2014/main" id="{860FD394-7DCA-4F13-911A-541CC5D1DD4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060156" y="5993361"/>
              <a:ext cx="108808" cy="108808"/>
            </a:xfrm>
            <a:custGeom>
              <a:avLst/>
              <a:gdLst>
                <a:gd name="T0" fmla="*/ 67 w 136"/>
                <a:gd name="T1" fmla="*/ 0 h 136"/>
                <a:gd name="T2" fmla="*/ 92 w 136"/>
                <a:gd name="T3" fmla="*/ 6 h 136"/>
                <a:gd name="T4" fmla="*/ 116 w 136"/>
                <a:gd name="T5" fmla="*/ 20 h 136"/>
                <a:gd name="T6" fmla="*/ 130 w 136"/>
                <a:gd name="T7" fmla="*/ 41 h 136"/>
                <a:gd name="T8" fmla="*/ 136 w 136"/>
                <a:gd name="T9" fmla="*/ 66 h 136"/>
                <a:gd name="T10" fmla="*/ 130 w 136"/>
                <a:gd name="T11" fmla="*/ 95 h 136"/>
                <a:gd name="T12" fmla="*/ 116 w 136"/>
                <a:gd name="T13" fmla="*/ 115 h 136"/>
                <a:gd name="T14" fmla="*/ 95 w 136"/>
                <a:gd name="T15" fmla="*/ 130 h 136"/>
                <a:gd name="T16" fmla="*/ 69 w 136"/>
                <a:gd name="T17" fmla="*/ 136 h 136"/>
                <a:gd name="T18" fmla="*/ 43 w 136"/>
                <a:gd name="T19" fmla="*/ 133 h 136"/>
                <a:gd name="T20" fmla="*/ 20 w 136"/>
                <a:gd name="T21" fmla="*/ 115 h 136"/>
                <a:gd name="T22" fmla="*/ 6 w 136"/>
                <a:gd name="T23" fmla="*/ 95 h 136"/>
                <a:gd name="T24" fmla="*/ 0 w 136"/>
                <a:gd name="T25" fmla="*/ 69 h 136"/>
                <a:gd name="T26" fmla="*/ 6 w 136"/>
                <a:gd name="T27" fmla="*/ 43 h 136"/>
                <a:gd name="T28" fmla="*/ 20 w 136"/>
                <a:gd name="T29" fmla="*/ 20 h 136"/>
                <a:gd name="T30" fmla="*/ 41 w 136"/>
                <a:gd name="T31" fmla="*/ 6 h 136"/>
                <a:gd name="T32" fmla="*/ 67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7" y="0"/>
                  </a:moveTo>
                  <a:lnTo>
                    <a:pt x="92" y="6"/>
                  </a:lnTo>
                  <a:lnTo>
                    <a:pt x="116" y="20"/>
                  </a:lnTo>
                  <a:lnTo>
                    <a:pt x="130" y="41"/>
                  </a:lnTo>
                  <a:lnTo>
                    <a:pt x="136" y="66"/>
                  </a:lnTo>
                  <a:lnTo>
                    <a:pt x="130" y="95"/>
                  </a:lnTo>
                  <a:lnTo>
                    <a:pt x="116" y="115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3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9" name="Freeform 328">
              <a:extLst>
                <a:ext uri="{FF2B5EF4-FFF2-40B4-BE49-F238E27FC236}">
                  <a16:creationId xmlns:a16="http://schemas.microsoft.com/office/drawing/2014/main" id="{613832B0-4AAA-456B-A13A-3DEC2E5ABA0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876142" y="5866952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5 w 135"/>
                <a:gd name="T3" fmla="*/ 5 h 135"/>
                <a:gd name="T4" fmla="*/ 115 w 135"/>
                <a:gd name="T5" fmla="*/ 20 h 135"/>
                <a:gd name="T6" fmla="*/ 130 w 135"/>
                <a:gd name="T7" fmla="*/ 40 h 135"/>
                <a:gd name="T8" fmla="*/ 135 w 135"/>
                <a:gd name="T9" fmla="*/ 66 h 135"/>
                <a:gd name="T10" fmla="*/ 132 w 135"/>
                <a:gd name="T11" fmla="*/ 95 h 135"/>
                <a:gd name="T12" fmla="*/ 115 w 135"/>
                <a:gd name="T13" fmla="*/ 115 h 135"/>
                <a:gd name="T14" fmla="*/ 95 w 135"/>
                <a:gd name="T15" fmla="*/ 129 h 135"/>
                <a:gd name="T16" fmla="*/ 69 w 135"/>
                <a:gd name="T17" fmla="*/ 135 h 135"/>
                <a:gd name="T18" fmla="*/ 43 w 135"/>
                <a:gd name="T19" fmla="*/ 129 h 135"/>
                <a:gd name="T20" fmla="*/ 20 w 135"/>
                <a:gd name="T21" fmla="*/ 115 h 135"/>
                <a:gd name="T22" fmla="*/ 6 w 135"/>
                <a:gd name="T23" fmla="*/ 95 h 135"/>
                <a:gd name="T24" fmla="*/ 0 w 135"/>
                <a:gd name="T25" fmla="*/ 69 h 135"/>
                <a:gd name="T26" fmla="*/ 6 w 135"/>
                <a:gd name="T27" fmla="*/ 43 h 135"/>
                <a:gd name="T28" fmla="*/ 20 w 135"/>
                <a:gd name="T29" fmla="*/ 20 h 135"/>
                <a:gd name="T30" fmla="*/ 43 w 135"/>
                <a:gd name="T31" fmla="*/ 5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5" y="5"/>
                  </a:lnTo>
                  <a:lnTo>
                    <a:pt x="115" y="20"/>
                  </a:lnTo>
                  <a:lnTo>
                    <a:pt x="130" y="40"/>
                  </a:lnTo>
                  <a:lnTo>
                    <a:pt x="135" y="66"/>
                  </a:lnTo>
                  <a:lnTo>
                    <a:pt x="132" y="95"/>
                  </a:lnTo>
                  <a:lnTo>
                    <a:pt x="115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3" y="129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0" name="Freeform 329">
              <a:extLst>
                <a:ext uri="{FF2B5EF4-FFF2-40B4-BE49-F238E27FC236}">
                  <a16:creationId xmlns:a16="http://schemas.microsoft.com/office/drawing/2014/main" id="{1D0E299B-A347-4618-85D4-394B94CF037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698529" y="5728542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2 w 135"/>
                <a:gd name="T3" fmla="*/ 5 h 135"/>
                <a:gd name="T4" fmla="*/ 115 w 135"/>
                <a:gd name="T5" fmla="*/ 20 h 135"/>
                <a:gd name="T6" fmla="*/ 130 w 135"/>
                <a:gd name="T7" fmla="*/ 40 h 135"/>
                <a:gd name="T8" fmla="*/ 135 w 135"/>
                <a:gd name="T9" fmla="*/ 66 h 135"/>
                <a:gd name="T10" fmla="*/ 130 w 135"/>
                <a:gd name="T11" fmla="*/ 95 h 135"/>
                <a:gd name="T12" fmla="*/ 115 w 135"/>
                <a:gd name="T13" fmla="*/ 115 h 135"/>
                <a:gd name="T14" fmla="*/ 92 w 135"/>
                <a:gd name="T15" fmla="*/ 129 h 135"/>
                <a:gd name="T16" fmla="*/ 66 w 135"/>
                <a:gd name="T17" fmla="*/ 135 h 135"/>
                <a:gd name="T18" fmla="*/ 40 w 135"/>
                <a:gd name="T19" fmla="*/ 132 h 135"/>
                <a:gd name="T20" fmla="*/ 17 w 135"/>
                <a:gd name="T21" fmla="*/ 115 h 135"/>
                <a:gd name="T22" fmla="*/ 3 w 135"/>
                <a:gd name="T23" fmla="*/ 95 h 135"/>
                <a:gd name="T24" fmla="*/ 0 w 135"/>
                <a:gd name="T25" fmla="*/ 69 h 135"/>
                <a:gd name="T26" fmla="*/ 3 w 135"/>
                <a:gd name="T27" fmla="*/ 43 h 135"/>
                <a:gd name="T28" fmla="*/ 17 w 135"/>
                <a:gd name="T29" fmla="*/ 20 h 135"/>
                <a:gd name="T30" fmla="*/ 40 w 135"/>
                <a:gd name="T31" fmla="*/ 5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2" y="5"/>
                  </a:lnTo>
                  <a:lnTo>
                    <a:pt x="115" y="20"/>
                  </a:lnTo>
                  <a:lnTo>
                    <a:pt x="130" y="40"/>
                  </a:lnTo>
                  <a:lnTo>
                    <a:pt x="135" y="66"/>
                  </a:lnTo>
                  <a:lnTo>
                    <a:pt x="130" y="95"/>
                  </a:lnTo>
                  <a:lnTo>
                    <a:pt x="115" y="115"/>
                  </a:lnTo>
                  <a:lnTo>
                    <a:pt x="92" y="129"/>
                  </a:lnTo>
                  <a:lnTo>
                    <a:pt x="66" y="135"/>
                  </a:lnTo>
                  <a:lnTo>
                    <a:pt x="40" y="132"/>
                  </a:lnTo>
                  <a:lnTo>
                    <a:pt x="17" y="115"/>
                  </a:lnTo>
                  <a:lnTo>
                    <a:pt x="3" y="95"/>
                  </a:lnTo>
                  <a:lnTo>
                    <a:pt x="0" y="69"/>
                  </a:lnTo>
                  <a:lnTo>
                    <a:pt x="3" y="43"/>
                  </a:lnTo>
                  <a:lnTo>
                    <a:pt x="17" y="20"/>
                  </a:lnTo>
                  <a:lnTo>
                    <a:pt x="40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1" name="Freeform 330">
              <a:extLst>
                <a:ext uri="{FF2B5EF4-FFF2-40B4-BE49-F238E27FC236}">
                  <a16:creationId xmlns:a16="http://schemas.microsoft.com/office/drawing/2014/main" id="{A0E858F4-8F10-4204-92A0-06EB535A3AD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572847" y="1794655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2 w 135"/>
                <a:gd name="T3" fmla="*/ 2 h 135"/>
                <a:gd name="T4" fmla="*/ 115 w 135"/>
                <a:gd name="T5" fmla="*/ 17 h 135"/>
                <a:gd name="T6" fmla="*/ 129 w 135"/>
                <a:gd name="T7" fmla="*/ 40 h 135"/>
                <a:gd name="T8" fmla="*/ 135 w 135"/>
                <a:gd name="T9" fmla="*/ 66 h 135"/>
                <a:gd name="T10" fmla="*/ 129 w 135"/>
                <a:gd name="T11" fmla="*/ 92 h 135"/>
                <a:gd name="T12" fmla="*/ 115 w 135"/>
                <a:gd name="T13" fmla="*/ 115 h 135"/>
                <a:gd name="T14" fmla="*/ 92 w 135"/>
                <a:gd name="T15" fmla="*/ 129 h 135"/>
                <a:gd name="T16" fmla="*/ 66 w 135"/>
                <a:gd name="T17" fmla="*/ 135 h 135"/>
                <a:gd name="T18" fmla="*/ 40 w 135"/>
                <a:gd name="T19" fmla="*/ 129 h 135"/>
                <a:gd name="T20" fmla="*/ 17 w 135"/>
                <a:gd name="T21" fmla="*/ 115 h 135"/>
                <a:gd name="T22" fmla="*/ 2 w 135"/>
                <a:gd name="T23" fmla="*/ 95 h 135"/>
                <a:gd name="T24" fmla="*/ 0 w 135"/>
                <a:gd name="T25" fmla="*/ 69 h 135"/>
                <a:gd name="T26" fmla="*/ 2 w 135"/>
                <a:gd name="T27" fmla="*/ 40 h 135"/>
                <a:gd name="T28" fmla="*/ 17 w 135"/>
                <a:gd name="T29" fmla="*/ 20 h 135"/>
                <a:gd name="T30" fmla="*/ 40 w 135"/>
                <a:gd name="T31" fmla="*/ 5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2" y="2"/>
                  </a:lnTo>
                  <a:lnTo>
                    <a:pt x="115" y="17"/>
                  </a:lnTo>
                  <a:lnTo>
                    <a:pt x="129" y="40"/>
                  </a:lnTo>
                  <a:lnTo>
                    <a:pt x="135" y="66"/>
                  </a:lnTo>
                  <a:lnTo>
                    <a:pt x="129" y="92"/>
                  </a:lnTo>
                  <a:lnTo>
                    <a:pt x="115" y="115"/>
                  </a:lnTo>
                  <a:lnTo>
                    <a:pt x="92" y="129"/>
                  </a:lnTo>
                  <a:lnTo>
                    <a:pt x="66" y="135"/>
                  </a:lnTo>
                  <a:lnTo>
                    <a:pt x="40" y="129"/>
                  </a:lnTo>
                  <a:lnTo>
                    <a:pt x="17" y="115"/>
                  </a:lnTo>
                  <a:lnTo>
                    <a:pt x="2" y="95"/>
                  </a:lnTo>
                  <a:lnTo>
                    <a:pt x="0" y="69"/>
                  </a:lnTo>
                  <a:lnTo>
                    <a:pt x="2" y="40"/>
                  </a:lnTo>
                  <a:lnTo>
                    <a:pt x="17" y="20"/>
                  </a:lnTo>
                  <a:lnTo>
                    <a:pt x="40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2" name="Freeform 331">
              <a:extLst>
                <a:ext uri="{FF2B5EF4-FFF2-40B4-BE49-F238E27FC236}">
                  <a16:creationId xmlns:a16="http://schemas.microsoft.com/office/drawing/2014/main" id="{851A3C4D-225F-42F1-B704-3707025C619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662454" y="1589840"/>
              <a:ext cx="111208" cy="108008"/>
            </a:xfrm>
            <a:custGeom>
              <a:avLst/>
              <a:gdLst>
                <a:gd name="T0" fmla="*/ 67 w 139"/>
                <a:gd name="T1" fmla="*/ 0 h 135"/>
                <a:gd name="T2" fmla="*/ 95 w 139"/>
                <a:gd name="T3" fmla="*/ 6 h 135"/>
                <a:gd name="T4" fmla="*/ 116 w 139"/>
                <a:gd name="T5" fmla="*/ 20 h 135"/>
                <a:gd name="T6" fmla="*/ 133 w 139"/>
                <a:gd name="T7" fmla="*/ 40 h 135"/>
                <a:gd name="T8" fmla="*/ 139 w 139"/>
                <a:gd name="T9" fmla="*/ 66 h 135"/>
                <a:gd name="T10" fmla="*/ 133 w 139"/>
                <a:gd name="T11" fmla="*/ 92 h 135"/>
                <a:gd name="T12" fmla="*/ 118 w 139"/>
                <a:gd name="T13" fmla="*/ 115 h 135"/>
                <a:gd name="T14" fmla="*/ 95 w 139"/>
                <a:gd name="T15" fmla="*/ 130 h 135"/>
                <a:gd name="T16" fmla="*/ 69 w 139"/>
                <a:gd name="T17" fmla="*/ 135 h 135"/>
                <a:gd name="T18" fmla="*/ 44 w 139"/>
                <a:gd name="T19" fmla="*/ 130 h 135"/>
                <a:gd name="T20" fmla="*/ 20 w 139"/>
                <a:gd name="T21" fmla="*/ 115 h 135"/>
                <a:gd name="T22" fmla="*/ 6 w 139"/>
                <a:gd name="T23" fmla="*/ 95 h 135"/>
                <a:gd name="T24" fmla="*/ 0 w 139"/>
                <a:gd name="T25" fmla="*/ 69 h 135"/>
                <a:gd name="T26" fmla="*/ 6 w 139"/>
                <a:gd name="T27" fmla="*/ 40 h 135"/>
                <a:gd name="T28" fmla="*/ 20 w 139"/>
                <a:gd name="T29" fmla="*/ 17 h 135"/>
                <a:gd name="T30" fmla="*/ 44 w 139"/>
                <a:gd name="T31" fmla="*/ 3 h 135"/>
                <a:gd name="T32" fmla="*/ 67 w 139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5">
                  <a:moveTo>
                    <a:pt x="67" y="0"/>
                  </a:moveTo>
                  <a:lnTo>
                    <a:pt x="95" y="6"/>
                  </a:lnTo>
                  <a:lnTo>
                    <a:pt x="116" y="20"/>
                  </a:lnTo>
                  <a:lnTo>
                    <a:pt x="133" y="40"/>
                  </a:lnTo>
                  <a:lnTo>
                    <a:pt x="139" y="66"/>
                  </a:lnTo>
                  <a:lnTo>
                    <a:pt x="133" y="92"/>
                  </a:lnTo>
                  <a:lnTo>
                    <a:pt x="118" y="115"/>
                  </a:lnTo>
                  <a:lnTo>
                    <a:pt x="95" y="130"/>
                  </a:lnTo>
                  <a:lnTo>
                    <a:pt x="69" y="135"/>
                  </a:lnTo>
                  <a:lnTo>
                    <a:pt x="44" y="130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0"/>
                  </a:lnTo>
                  <a:lnTo>
                    <a:pt x="20" y="17"/>
                  </a:lnTo>
                  <a:lnTo>
                    <a:pt x="44" y="3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3" name="Freeform 332">
              <a:extLst>
                <a:ext uri="{FF2B5EF4-FFF2-40B4-BE49-F238E27FC236}">
                  <a16:creationId xmlns:a16="http://schemas.microsoft.com/office/drawing/2014/main" id="{BA0BDE4B-84FC-4B3D-949A-EA804718267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766461" y="1391425"/>
              <a:ext cx="110408" cy="108008"/>
            </a:xfrm>
            <a:custGeom>
              <a:avLst/>
              <a:gdLst>
                <a:gd name="T0" fmla="*/ 69 w 138"/>
                <a:gd name="T1" fmla="*/ 0 h 135"/>
                <a:gd name="T2" fmla="*/ 95 w 138"/>
                <a:gd name="T3" fmla="*/ 6 h 135"/>
                <a:gd name="T4" fmla="*/ 118 w 138"/>
                <a:gd name="T5" fmla="*/ 20 h 135"/>
                <a:gd name="T6" fmla="*/ 132 w 138"/>
                <a:gd name="T7" fmla="*/ 40 h 135"/>
                <a:gd name="T8" fmla="*/ 138 w 138"/>
                <a:gd name="T9" fmla="*/ 66 h 135"/>
                <a:gd name="T10" fmla="*/ 132 w 138"/>
                <a:gd name="T11" fmla="*/ 92 h 135"/>
                <a:gd name="T12" fmla="*/ 118 w 138"/>
                <a:gd name="T13" fmla="*/ 115 h 135"/>
                <a:gd name="T14" fmla="*/ 95 w 138"/>
                <a:gd name="T15" fmla="*/ 130 h 135"/>
                <a:gd name="T16" fmla="*/ 69 w 138"/>
                <a:gd name="T17" fmla="*/ 135 h 135"/>
                <a:gd name="T18" fmla="*/ 43 w 138"/>
                <a:gd name="T19" fmla="*/ 130 h 135"/>
                <a:gd name="T20" fmla="*/ 20 w 138"/>
                <a:gd name="T21" fmla="*/ 115 h 135"/>
                <a:gd name="T22" fmla="*/ 5 w 138"/>
                <a:gd name="T23" fmla="*/ 92 h 135"/>
                <a:gd name="T24" fmla="*/ 0 w 138"/>
                <a:gd name="T25" fmla="*/ 69 h 135"/>
                <a:gd name="T26" fmla="*/ 5 w 138"/>
                <a:gd name="T27" fmla="*/ 40 h 135"/>
                <a:gd name="T28" fmla="*/ 20 w 138"/>
                <a:gd name="T29" fmla="*/ 20 h 135"/>
                <a:gd name="T30" fmla="*/ 43 w 138"/>
                <a:gd name="T31" fmla="*/ 6 h 135"/>
                <a:gd name="T32" fmla="*/ 69 w 138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5">
                  <a:moveTo>
                    <a:pt x="69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2" y="40"/>
                  </a:lnTo>
                  <a:lnTo>
                    <a:pt x="138" y="66"/>
                  </a:lnTo>
                  <a:lnTo>
                    <a:pt x="132" y="92"/>
                  </a:lnTo>
                  <a:lnTo>
                    <a:pt x="118" y="115"/>
                  </a:lnTo>
                  <a:lnTo>
                    <a:pt x="95" y="130"/>
                  </a:lnTo>
                  <a:lnTo>
                    <a:pt x="69" y="135"/>
                  </a:lnTo>
                  <a:lnTo>
                    <a:pt x="43" y="130"/>
                  </a:lnTo>
                  <a:lnTo>
                    <a:pt x="20" y="115"/>
                  </a:lnTo>
                  <a:lnTo>
                    <a:pt x="5" y="92"/>
                  </a:lnTo>
                  <a:lnTo>
                    <a:pt x="0" y="69"/>
                  </a:lnTo>
                  <a:lnTo>
                    <a:pt x="5" y="40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4" name="Freeform 333">
              <a:extLst>
                <a:ext uri="{FF2B5EF4-FFF2-40B4-BE49-F238E27FC236}">
                  <a16:creationId xmlns:a16="http://schemas.microsoft.com/office/drawing/2014/main" id="{CCB76F2C-8F36-4A06-AC61-12500B47D89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884070" y="1199412"/>
              <a:ext cx="108808" cy="108808"/>
            </a:xfrm>
            <a:custGeom>
              <a:avLst/>
              <a:gdLst>
                <a:gd name="T0" fmla="*/ 70 w 136"/>
                <a:gd name="T1" fmla="*/ 0 h 136"/>
                <a:gd name="T2" fmla="*/ 96 w 136"/>
                <a:gd name="T3" fmla="*/ 6 h 136"/>
                <a:gd name="T4" fmla="*/ 119 w 136"/>
                <a:gd name="T5" fmla="*/ 20 h 136"/>
                <a:gd name="T6" fmla="*/ 133 w 136"/>
                <a:gd name="T7" fmla="*/ 40 h 136"/>
                <a:gd name="T8" fmla="*/ 136 w 136"/>
                <a:gd name="T9" fmla="*/ 66 h 136"/>
                <a:gd name="T10" fmla="*/ 133 w 136"/>
                <a:gd name="T11" fmla="*/ 92 h 136"/>
                <a:gd name="T12" fmla="*/ 119 w 136"/>
                <a:gd name="T13" fmla="*/ 115 h 136"/>
                <a:gd name="T14" fmla="*/ 96 w 136"/>
                <a:gd name="T15" fmla="*/ 130 h 136"/>
                <a:gd name="T16" fmla="*/ 70 w 136"/>
                <a:gd name="T17" fmla="*/ 136 h 136"/>
                <a:gd name="T18" fmla="*/ 44 w 136"/>
                <a:gd name="T19" fmla="*/ 133 h 136"/>
                <a:gd name="T20" fmla="*/ 21 w 136"/>
                <a:gd name="T21" fmla="*/ 115 h 136"/>
                <a:gd name="T22" fmla="*/ 6 w 136"/>
                <a:gd name="T23" fmla="*/ 95 h 136"/>
                <a:gd name="T24" fmla="*/ 0 w 136"/>
                <a:gd name="T25" fmla="*/ 69 h 136"/>
                <a:gd name="T26" fmla="*/ 6 w 136"/>
                <a:gd name="T27" fmla="*/ 40 h 136"/>
                <a:gd name="T28" fmla="*/ 21 w 136"/>
                <a:gd name="T29" fmla="*/ 20 h 136"/>
                <a:gd name="T30" fmla="*/ 44 w 136"/>
                <a:gd name="T31" fmla="*/ 6 h 136"/>
                <a:gd name="T32" fmla="*/ 70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70" y="0"/>
                  </a:moveTo>
                  <a:lnTo>
                    <a:pt x="96" y="6"/>
                  </a:lnTo>
                  <a:lnTo>
                    <a:pt x="119" y="20"/>
                  </a:lnTo>
                  <a:lnTo>
                    <a:pt x="133" y="40"/>
                  </a:lnTo>
                  <a:lnTo>
                    <a:pt x="136" y="66"/>
                  </a:lnTo>
                  <a:lnTo>
                    <a:pt x="133" y="92"/>
                  </a:lnTo>
                  <a:lnTo>
                    <a:pt x="119" y="115"/>
                  </a:lnTo>
                  <a:lnTo>
                    <a:pt x="96" y="130"/>
                  </a:lnTo>
                  <a:lnTo>
                    <a:pt x="70" y="136"/>
                  </a:lnTo>
                  <a:lnTo>
                    <a:pt x="44" y="133"/>
                  </a:lnTo>
                  <a:lnTo>
                    <a:pt x="21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0"/>
                  </a:lnTo>
                  <a:lnTo>
                    <a:pt x="21" y="20"/>
                  </a:lnTo>
                  <a:lnTo>
                    <a:pt x="44" y="6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5" name="Freeform 334">
              <a:extLst>
                <a:ext uri="{FF2B5EF4-FFF2-40B4-BE49-F238E27FC236}">
                  <a16:creationId xmlns:a16="http://schemas.microsoft.com/office/drawing/2014/main" id="{F07E494C-F5D4-465C-B1C8-4AA37779F8C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011279" y="1015398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2 w 135"/>
                <a:gd name="T3" fmla="*/ 5 h 135"/>
                <a:gd name="T4" fmla="*/ 115 w 135"/>
                <a:gd name="T5" fmla="*/ 20 h 135"/>
                <a:gd name="T6" fmla="*/ 130 w 135"/>
                <a:gd name="T7" fmla="*/ 40 h 135"/>
                <a:gd name="T8" fmla="*/ 135 w 135"/>
                <a:gd name="T9" fmla="*/ 66 h 135"/>
                <a:gd name="T10" fmla="*/ 130 w 135"/>
                <a:gd name="T11" fmla="*/ 92 h 135"/>
                <a:gd name="T12" fmla="*/ 115 w 135"/>
                <a:gd name="T13" fmla="*/ 115 h 135"/>
                <a:gd name="T14" fmla="*/ 95 w 135"/>
                <a:gd name="T15" fmla="*/ 129 h 135"/>
                <a:gd name="T16" fmla="*/ 69 w 135"/>
                <a:gd name="T17" fmla="*/ 135 h 135"/>
                <a:gd name="T18" fmla="*/ 43 w 135"/>
                <a:gd name="T19" fmla="*/ 129 h 135"/>
                <a:gd name="T20" fmla="*/ 20 w 135"/>
                <a:gd name="T21" fmla="*/ 115 h 135"/>
                <a:gd name="T22" fmla="*/ 6 w 135"/>
                <a:gd name="T23" fmla="*/ 95 h 135"/>
                <a:gd name="T24" fmla="*/ 0 w 135"/>
                <a:gd name="T25" fmla="*/ 69 h 135"/>
                <a:gd name="T26" fmla="*/ 6 w 135"/>
                <a:gd name="T27" fmla="*/ 40 h 135"/>
                <a:gd name="T28" fmla="*/ 20 w 135"/>
                <a:gd name="T29" fmla="*/ 20 h 135"/>
                <a:gd name="T30" fmla="*/ 40 w 135"/>
                <a:gd name="T31" fmla="*/ 5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2" y="5"/>
                  </a:lnTo>
                  <a:lnTo>
                    <a:pt x="115" y="20"/>
                  </a:lnTo>
                  <a:lnTo>
                    <a:pt x="130" y="40"/>
                  </a:lnTo>
                  <a:lnTo>
                    <a:pt x="135" y="66"/>
                  </a:lnTo>
                  <a:lnTo>
                    <a:pt x="130" y="92"/>
                  </a:lnTo>
                  <a:lnTo>
                    <a:pt x="115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3" y="129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0"/>
                  </a:lnTo>
                  <a:lnTo>
                    <a:pt x="20" y="20"/>
                  </a:lnTo>
                  <a:lnTo>
                    <a:pt x="40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6" name="Freeform 335">
              <a:extLst>
                <a:ext uri="{FF2B5EF4-FFF2-40B4-BE49-F238E27FC236}">
                  <a16:creationId xmlns:a16="http://schemas.microsoft.com/office/drawing/2014/main" id="{B7092FEB-54F3-479D-AB78-C8CF083007D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149689" y="840186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2 w 135"/>
                <a:gd name="T3" fmla="*/ 5 h 135"/>
                <a:gd name="T4" fmla="*/ 115 w 135"/>
                <a:gd name="T5" fmla="*/ 20 h 135"/>
                <a:gd name="T6" fmla="*/ 130 w 135"/>
                <a:gd name="T7" fmla="*/ 43 h 135"/>
                <a:gd name="T8" fmla="*/ 135 w 135"/>
                <a:gd name="T9" fmla="*/ 66 h 135"/>
                <a:gd name="T10" fmla="*/ 130 w 135"/>
                <a:gd name="T11" fmla="*/ 92 h 135"/>
                <a:gd name="T12" fmla="*/ 115 w 135"/>
                <a:gd name="T13" fmla="*/ 115 h 135"/>
                <a:gd name="T14" fmla="*/ 95 w 135"/>
                <a:gd name="T15" fmla="*/ 129 h 135"/>
                <a:gd name="T16" fmla="*/ 69 w 135"/>
                <a:gd name="T17" fmla="*/ 135 h 135"/>
                <a:gd name="T18" fmla="*/ 43 w 135"/>
                <a:gd name="T19" fmla="*/ 132 h 135"/>
                <a:gd name="T20" fmla="*/ 20 w 135"/>
                <a:gd name="T21" fmla="*/ 115 h 135"/>
                <a:gd name="T22" fmla="*/ 6 w 135"/>
                <a:gd name="T23" fmla="*/ 95 h 135"/>
                <a:gd name="T24" fmla="*/ 0 w 135"/>
                <a:gd name="T25" fmla="*/ 69 h 135"/>
                <a:gd name="T26" fmla="*/ 3 w 135"/>
                <a:gd name="T27" fmla="*/ 43 h 135"/>
                <a:gd name="T28" fmla="*/ 20 w 135"/>
                <a:gd name="T29" fmla="*/ 20 h 135"/>
                <a:gd name="T30" fmla="*/ 40 w 135"/>
                <a:gd name="T31" fmla="*/ 5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2" y="5"/>
                  </a:lnTo>
                  <a:lnTo>
                    <a:pt x="115" y="20"/>
                  </a:lnTo>
                  <a:lnTo>
                    <a:pt x="130" y="43"/>
                  </a:lnTo>
                  <a:lnTo>
                    <a:pt x="135" y="66"/>
                  </a:lnTo>
                  <a:lnTo>
                    <a:pt x="130" y="92"/>
                  </a:lnTo>
                  <a:lnTo>
                    <a:pt x="115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3" y="132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3" y="43"/>
                  </a:lnTo>
                  <a:lnTo>
                    <a:pt x="20" y="20"/>
                  </a:lnTo>
                  <a:lnTo>
                    <a:pt x="40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7" name="Freeform 336">
              <a:extLst>
                <a:ext uri="{FF2B5EF4-FFF2-40B4-BE49-F238E27FC236}">
                  <a16:creationId xmlns:a16="http://schemas.microsoft.com/office/drawing/2014/main" id="{ACA36807-88E7-4B3B-9857-652A44685E7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2076302" y="6696612"/>
              <a:ext cx="108008" cy="108808"/>
            </a:xfrm>
            <a:custGeom>
              <a:avLst/>
              <a:gdLst>
                <a:gd name="T0" fmla="*/ 66 w 135"/>
                <a:gd name="T1" fmla="*/ 0 h 136"/>
                <a:gd name="T2" fmla="*/ 95 w 135"/>
                <a:gd name="T3" fmla="*/ 6 h 136"/>
                <a:gd name="T4" fmla="*/ 115 w 135"/>
                <a:gd name="T5" fmla="*/ 20 h 136"/>
                <a:gd name="T6" fmla="*/ 129 w 135"/>
                <a:gd name="T7" fmla="*/ 43 h 136"/>
                <a:gd name="T8" fmla="*/ 135 w 135"/>
                <a:gd name="T9" fmla="*/ 69 h 136"/>
                <a:gd name="T10" fmla="*/ 129 w 135"/>
                <a:gd name="T11" fmla="*/ 95 h 136"/>
                <a:gd name="T12" fmla="*/ 115 w 135"/>
                <a:gd name="T13" fmla="*/ 118 h 136"/>
                <a:gd name="T14" fmla="*/ 95 w 135"/>
                <a:gd name="T15" fmla="*/ 133 h 136"/>
                <a:gd name="T16" fmla="*/ 69 w 135"/>
                <a:gd name="T17" fmla="*/ 136 h 136"/>
                <a:gd name="T18" fmla="*/ 43 w 135"/>
                <a:gd name="T19" fmla="*/ 133 h 136"/>
                <a:gd name="T20" fmla="*/ 20 w 135"/>
                <a:gd name="T21" fmla="*/ 118 h 136"/>
                <a:gd name="T22" fmla="*/ 5 w 135"/>
                <a:gd name="T23" fmla="*/ 95 h 136"/>
                <a:gd name="T24" fmla="*/ 0 w 135"/>
                <a:gd name="T25" fmla="*/ 69 h 136"/>
                <a:gd name="T26" fmla="*/ 5 w 135"/>
                <a:gd name="T27" fmla="*/ 43 h 136"/>
                <a:gd name="T28" fmla="*/ 20 w 135"/>
                <a:gd name="T29" fmla="*/ 20 h 136"/>
                <a:gd name="T30" fmla="*/ 40 w 135"/>
                <a:gd name="T31" fmla="*/ 6 h 136"/>
                <a:gd name="T32" fmla="*/ 66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6" y="0"/>
                  </a:moveTo>
                  <a:lnTo>
                    <a:pt x="95" y="6"/>
                  </a:lnTo>
                  <a:lnTo>
                    <a:pt x="115" y="20"/>
                  </a:lnTo>
                  <a:lnTo>
                    <a:pt x="129" y="43"/>
                  </a:lnTo>
                  <a:lnTo>
                    <a:pt x="135" y="69"/>
                  </a:lnTo>
                  <a:lnTo>
                    <a:pt x="129" y="95"/>
                  </a:lnTo>
                  <a:lnTo>
                    <a:pt x="115" y="118"/>
                  </a:lnTo>
                  <a:lnTo>
                    <a:pt x="95" y="133"/>
                  </a:lnTo>
                  <a:lnTo>
                    <a:pt x="69" y="136"/>
                  </a:lnTo>
                  <a:lnTo>
                    <a:pt x="43" y="133"/>
                  </a:lnTo>
                  <a:lnTo>
                    <a:pt x="20" y="118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3"/>
                  </a:lnTo>
                  <a:lnTo>
                    <a:pt x="20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8" name="Freeform 337">
              <a:extLst>
                <a:ext uri="{FF2B5EF4-FFF2-40B4-BE49-F238E27FC236}">
                  <a16:creationId xmlns:a16="http://schemas.microsoft.com/office/drawing/2014/main" id="{5D6463F8-D549-4BD0-8427-CC8771896F7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852286" y="6701413"/>
              <a:ext cx="108808" cy="108808"/>
            </a:xfrm>
            <a:custGeom>
              <a:avLst/>
              <a:gdLst>
                <a:gd name="T0" fmla="*/ 67 w 136"/>
                <a:gd name="T1" fmla="*/ 0 h 136"/>
                <a:gd name="T2" fmla="*/ 95 w 136"/>
                <a:gd name="T3" fmla="*/ 6 h 136"/>
                <a:gd name="T4" fmla="*/ 116 w 136"/>
                <a:gd name="T5" fmla="*/ 21 h 136"/>
                <a:gd name="T6" fmla="*/ 130 w 136"/>
                <a:gd name="T7" fmla="*/ 41 h 136"/>
                <a:gd name="T8" fmla="*/ 136 w 136"/>
                <a:gd name="T9" fmla="*/ 67 h 136"/>
                <a:gd name="T10" fmla="*/ 133 w 136"/>
                <a:gd name="T11" fmla="*/ 93 h 136"/>
                <a:gd name="T12" fmla="*/ 116 w 136"/>
                <a:gd name="T13" fmla="*/ 116 h 136"/>
                <a:gd name="T14" fmla="*/ 95 w 136"/>
                <a:gd name="T15" fmla="*/ 130 h 136"/>
                <a:gd name="T16" fmla="*/ 69 w 136"/>
                <a:gd name="T17" fmla="*/ 136 h 136"/>
                <a:gd name="T18" fmla="*/ 43 w 136"/>
                <a:gd name="T19" fmla="*/ 130 h 136"/>
                <a:gd name="T20" fmla="*/ 20 w 136"/>
                <a:gd name="T21" fmla="*/ 116 h 136"/>
                <a:gd name="T22" fmla="*/ 6 w 136"/>
                <a:gd name="T23" fmla="*/ 95 h 136"/>
                <a:gd name="T24" fmla="*/ 0 w 136"/>
                <a:gd name="T25" fmla="*/ 70 h 136"/>
                <a:gd name="T26" fmla="*/ 6 w 136"/>
                <a:gd name="T27" fmla="*/ 44 h 136"/>
                <a:gd name="T28" fmla="*/ 20 w 136"/>
                <a:gd name="T29" fmla="*/ 21 h 136"/>
                <a:gd name="T30" fmla="*/ 43 w 136"/>
                <a:gd name="T31" fmla="*/ 6 h 136"/>
                <a:gd name="T32" fmla="*/ 67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7" y="0"/>
                  </a:moveTo>
                  <a:lnTo>
                    <a:pt x="95" y="6"/>
                  </a:lnTo>
                  <a:lnTo>
                    <a:pt x="116" y="21"/>
                  </a:lnTo>
                  <a:lnTo>
                    <a:pt x="130" y="41"/>
                  </a:lnTo>
                  <a:lnTo>
                    <a:pt x="136" y="67"/>
                  </a:lnTo>
                  <a:lnTo>
                    <a:pt x="133" y="93"/>
                  </a:lnTo>
                  <a:lnTo>
                    <a:pt x="116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6"/>
                  </a:lnTo>
                  <a:lnTo>
                    <a:pt x="6" y="95"/>
                  </a:lnTo>
                  <a:lnTo>
                    <a:pt x="0" y="70"/>
                  </a:lnTo>
                  <a:lnTo>
                    <a:pt x="6" y="44"/>
                  </a:lnTo>
                  <a:lnTo>
                    <a:pt x="20" y="21"/>
                  </a:lnTo>
                  <a:lnTo>
                    <a:pt x="43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9" name="Freeform 338">
              <a:extLst>
                <a:ext uri="{FF2B5EF4-FFF2-40B4-BE49-F238E27FC236}">
                  <a16:creationId xmlns:a16="http://schemas.microsoft.com/office/drawing/2014/main" id="{CBCCA932-FFED-475E-A7EE-58F90EF4A5D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629070" y="6692612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5 w 135"/>
                <a:gd name="T3" fmla="*/ 6 h 135"/>
                <a:gd name="T4" fmla="*/ 115 w 135"/>
                <a:gd name="T5" fmla="*/ 20 h 135"/>
                <a:gd name="T6" fmla="*/ 130 w 135"/>
                <a:gd name="T7" fmla="*/ 40 h 135"/>
                <a:gd name="T8" fmla="*/ 135 w 135"/>
                <a:gd name="T9" fmla="*/ 66 h 135"/>
                <a:gd name="T10" fmla="*/ 132 w 135"/>
                <a:gd name="T11" fmla="*/ 95 h 135"/>
                <a:gd name="T12" fmla="*/ 115 w 135"/>
                <a:gd name="T13" fmla="*/ 115 h 135"/>
                <a:gd name="T14" fmla="*/ 95 w 135"/>
                <a:gd name="T15" fmla="*/ 130 h 135"/>
                <a:gd name="T16" fmla="*/ 69 w 135"/>
                <a:gd name="T17" fmla="*/ 135 h 135"/>
                <a:gd name="T18" fmla="*/ 43 w 135"/>
                <a:gd name="T19" fmla="*/ 130 h 135"/>
                <a:gd name="T20" fmla="*/ 20 w 135"/>
                <a:gd name="T21" fmla="*/ 115 h 135"/>
                <a:gd name="T22" fmla="*/ 6 w 135"/>
                <a:gd name="T23" fmla="*/ 95 h 135"/>
                <a:gd name="T24" fmla="*/ 0 w 135"/>
                <a:gd name="T25" fmla="*/ 69 h 135"/>
                <a:gd name="T26" fmla="*/ 6 w 135"/>
                <a:gd name="T27" fmla="*/ 43 h 135"/>
                <a:gd name="T28" fmla="*/ 20 w 135"/>
                <a:gd name="T29" fmla="*/ 20 h 135"/>
                <a:gd name="T30" fmla="*/ 43 w 135"/>
                <a:gd name="T31" fmla="*/ 6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5" y="6"/>
                  </a:lnTo>
                  <a:lnTo>
                    <a:pt x="115" y="20"/>
                  </a:lnTo>
                  <a:lnTo>
                    <a:pt x="130" y="40"/>
                  </a:lnTo>
                  <a:lnTo>
                    <a:pt x="135" y="66"/>
                  </a:lnTo>
                  <a:lnTo>
                    <a:pt x="132" y="95"/>
                  </a:lnTo>
                  <a:lnTo>
                    <a:pt x="115" y="115"/>
                  </a:lnTo>
                  <a:lnTo>
                    <a:pt x="95" y="130"/>
                  </a:lnTo>
                  <a:lnTo>
                    <a:pt x="69" y="135"/>
                  </a:lnTo>
                  <a:lnTo>
                    <a:pt x="43" y="130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0" name="Freeform 339">
              <a:extLst>
                <a:ext uri="{FF2B5EF4-FFF2-40B4-BE49-F238E27FC236}">
                  <a16:creationId xmlns:a16="http://schemas.microsoft.com/office/drawing/2014/main" id="{9F5D44DB-DED2-4C5C-9608-9D5CCA1925E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405053" y="6669410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2 w 135"/>
                <a:gd name="T3" fmla="*/ 5 h 135"/>
                <a:gd name="T4" fmla="*/ 115 w 135"/>
                <a:gd name="T5" fmla="*/ 20 h 135"/>
                <a:gd name="T6" fmla="*/ 129 w 135"/>
                <a:gd name="T7" fmla="*/ 40 h 135"/>
                <a:gd name="T8" fmla="*/ 135 w 135"/>
                <a:gd name="T9" fmla="*/ 66 h 135"/>
                <a:gd name="T10" fmla="*/ 132 w 135"/>
                <a:gd name="T11" fmla="*/ 92 h 135"/>
                <a:gd name="T12" fmla="*/ 115 w 135"/>
                <a:gd name="T13" fmla="*/ 115 h 135"/>
                <a:gd name="T14" fmla="*/ 95 w 135"/>
                <a:gd name="T15" fmla="*/ 129 h 135"/>
                <a:gd name="T16" fmla="*/ 69 w 135"/>
                <a:gd name="T17" fmla="*/ 135 h 135"/>
                <a:gd name="T18" fmla="*/ 43 w 135"/>
                <a:gd name="T19" fmla="*/ 129 h 135"/>
                <a:gd name="T20" fmla="*/ 20 w 135"/>
                <a:gd name="T21" fmla="*/ 115 h 135"/>
                <a:gd name="T22" fmla="*/ 5 w 135"/>
                <a:gd name="T23" fmla="*/ 95 h 135"/>
                <a:gd name="T24" fmla="*/ 0 w 135"/>
                <a:gd name="T25" fmla="*/ 69 h 135"/>
                <a:gd name="T26" fmla="*/ 5 w 135"/>
                <a:gd name="T27" fmla="*/ 40 h 135"/>
                <a:gd name="T28" fmla="*/ 20 w 135"/>
                <a:gd name="T29" fmla="*/ 20 h 135"/>
                <a:gd name="T30" fmla="*/ 40 w 135"/>
                <a:gd name="T31" fmla="*/ 5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2" y="5"/>
                  </a:lnTo>
                  <a:lnTo>
                    <a:pt x="115" y="20"/>
                  </a:lnTo>
                  <a:lnTo>
                    <a:pt x="129" y="40"/>
                  </a:lnTo>
                  <a:lnTo>
                    <a:pt x="135" y="66"/>
                  </a:lnTo>
                  <a:lnTo>
                    <a:pt x="132" y="92"/>
                  </a:lnTo>
                  <a:lnTo>
                    <a:pt x="115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3" y="129"/>
                  </a:lnTo>
                  <a:lnTo>
                    <a:pt x="20" y="115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0"/>
                  </a:lnTo>
                  <a:lnTo>
                    <a:pt x="20" y="20"/>
                  </a:lnTo>
                  <a:lnTo>
                    <a:pt x="40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1" name="Freeform 340">
              <a:extLst>
                <a:ext uri="{FF2B5EF4-FFF2-40B4-BE49-F238E27FC236}">
                  <a16:creationId xmlns:a16="http://schemas.microsoft.com/office/drawing/2014/main" id="{CB1D0777-6B4F-4E3D-924D-7A419E56389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749806" y="6517399"/>
              <a:ext cx="108808" cy="108008"/>
            </a:xfrm>
            <a:custGeom>
              <a:avLst/>
              <a:gdLst>
                <a:gd name="T0" fmla="*/ 67 w 136"/>
                <a:gd name="T1" fmla="*/ 0 h 135"/>
                <a:gd name="T2" fmla="*/ 92 w 136"/>
                <a:gd name="T3" fmla="*/ 3 h 135"/>
                <a:gd name="T4" fmla="*/ 116 w 136"/>
                <a:gd name="T5" fmla="*/ 17 h 135"/>
                <a:gd name="T6" fmla="*/ 130 w 136"/>
                <a:gd name="T7" fmla="*/ 40 h 135"/>
                <a:gd name="T8" fmla="*/ 136 w 136"/>
                <a:gd name="T9" fmla="*/ 66 h 135"/>
                <a:gd name="T10" fmla="*/ 130 w 136"/>
                <a:gd name="T11" fmla="*/ 92 h 135"/>
                <a:gd name="T12" fmla="*/ 116 w 136"/>
                <a:gd name="T13" fmla="*/ 115 h 135"/>
                <a:gd name="T14" fmla="*/ 92 w 136"/>
                <a:gd name="T15" fmla="*/ 130 h 135"/>
                <a:gd name="T16" fmla="*/ 69 w 136"/>
                <a:gd name="T17" fmla="*/ 135 h 135"/>
                <a:gd name="T18" fmla="*/ 43 w 136"/>
                <a:gd name="T19" fmla="*/ 130 h 135"/>
                <a:gd name="T20" fmla="*/ 20 w 136"/>
                <a:gd name="T21" fmla="*/ 115 h 135"/>
                <a:gd name="T22" fmla="*/ 3 w 136"/>
                <a:gd name="T23" fmla="*/ 92 h 135"/>
                <a:gd name="T24" fmla="*/ 0 w 136"/>
                <a:gd name="T25" fmla="*/ 66 h 135"/>
                <a:gd name="T26" fmla="*/ 3 w 136"/>
                <a:gd name="T27" fmla="*/ 40 h 135"/>
                <a:gd name="T28" fmla="*/ 18 w 136"/>
                <a:gd name="T29" fmla="*/ 17 h 135"/>
                <a:gd name="T30" fmla="*/ 41 w 136"/>
                <a:gd name="T31" fmla="*/ 3 h 135"/>
                <a:gd name="T32" fmla="*/ 67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7" y="0"/>
                  </a:moveTo>
                  <a:lnTo>
                    <a:pt x="92" y="3"/>
                  </a:lnTo>
                  <a:lnTo>
                    <a:pt x="116" y="17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0" y="92"/>
                  </a:lnTo>
                  <a:lnTo>
                    <a:pt x="116" y="115"/>
                  </a:lnTo>
                  <a:lnTo>
                    <a:pt x="92" y="130"/>
                  </a:lnTo>
                  <a:lnTo>
                    <a:pt x="69" y="135"/>
                  </a:lnTo>
                  <a:lnTo>
                    <a:pt x="43" y="130"/>
                  </a:lnTo>
                  <a:lnTo>
                    <a:pt x="20" y="115"/>
                  </a:lnTo>
                  <a:lnTo>
                    <a:pt x="3" y="92"/>
                  </a:lnTo>
                  <a:lnTo>
                    <a:pt x="0" y="66"/>
                  </a:lnTo>
                  <a:lnTo>
                    <a:pt x="3" y="40"/>
                  </a:lnTo>
                  <a:lnTo>
                    <a:pt x="18" y="17"/>
                  </a:lnTo>
                  <a:lnTo>
                    <a:pt x="41" y="3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2" name="Freeform 341">
              <a:extLst>
                <a:ext uri="{FF2B5EF4-FFF2-40B4-BE49-F238E27FC236}">
                  <a16:creationId xmlns:a16="http://schemas.microsoft.com/office/drawing/2014/main" id="{D371C3D8-C13B-4A13-8349-8649CE80D01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540190" y="6441393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2 w 135"/>
                <a:gd name="T3" fmla="*/ 6 h 135"/>
                <a:gd name="T4" fmla="*/ 115 w 135"/>
                <a:gd name="T5" fmla="*/ 20 h 135"/>
                <a:gd name="T6" fmla="*/ 129 w 135"/>
                <a:gd name="T7" fmla="*/ 43 h 135"/>
                <a:gd name="T8" fmla="*/ 135 w 135"/>
                <a:gd name="T9" fmla="*/ 66 h 135"/>
                <a:gd name="T10" fmla="*/ 129 w 135"/>
                <a:gd name="T11" fmla="*/ 95 h 135"/>
                <a:gd name="T12" fmla="*/ 115 w 135"/>
                <a:gd name="T13" fmla="*/ 115 h 135"/>
                <a:gd name="T14" fmla="*/ 92 w 135"/>
                <a:gd name="T15" fmla="*/ 130 h 135"/>
                <a:gd name="T16" fmla="*/ 69 w 135"/>
                <a:gd name="T17" fmla="*/ 135 h 135"/>
                <a:gd name="T18" fmla="*/ 43 w 135"/>
                <a:gd name="T19" fmla="*/ 133 h 135"/>
                <a:gd name="T20" fmla="*/ 20 w 135"/>
                <a:gd name="T21" fmla="*/ 115 h 135"/>
                <a:gd name="T22" fmla="*/ 5 w 135"/>
                <a:gd name="T23" fmla="*/ 95 h 135"/>
                <a:gd name="T24" fmla="*/ 0 w 135"/>
                <a:gd name="T25" fmla="*/ 69 h 135"/>
                <a:gd name="T26" fmla="*/ 2 w 135"/>
                <a:gd name="T27" fmla="*/ 43 h 135"/>
                <a:gd name="T28" fmla="*/ 20 w 135"/>
                <a:gd name="T29" fmla="*/ 20 h 135"/>
                <a:gd name="T30" fmla="*/ 40 w 135"/>
                <a:gd name="T31" fmla="*/ 6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2" y="6"/>
                  </a:lnTo>
                  <a:lnTo>
                    <a:pt x="115" y="20"/>
                  </a:lnTo>
                  <a:lnTo>
                    <a:pt x="129" y="43"/>
                  </a:lnTo>
                  <a:lnTo>
                    <a:pt x="135" y="66"/>
                  </a:lnTo>
                  <a:lnTo>
                    <a:pt x="129" y="95"/>
                  </a:lnTo>
                  <a:lnTo>
                    <a:pt x="115" y="115"/>
                  </a:lnTo>
                  <a:lnTo>
                    <a:pt x="92" y="130"/>
                  </a:lnTo>
                  <a:lnTo>
                    <a:pt x="69" y="135"/>
                  </a:lnTo>
                  <a:lnTo>
                    <a:pt x="43" y="133"/>
                  </a:lnTo>
                  <a:lnTo>
                    <a:pt x="20" y="115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2" y="43"/>
                  </a:lnTo>
                  <a:lnTo>
                    <a:pt x="20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3" name="Freeform 342">
              <a:extLst>
                <a:ext uri="{FF2B5EF4-FFF2-40B4-BE49-F238E27FC236}">
                  <a16:creationId xmlns:a16="http://schemas.microsoft.com/office/drawing/2014/main" id="{61D0A517-22BC-486B-8FF8-569433E797F0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334575" y="6348587"/>
              <a:ext cx="108808" cy="111208"/>
            </a:xfrm>
            <a:custGeom>
              <a:avLst/>
              <a:gdLst>
                <a:gd name="T0" fmla="*/ 66 w 136"/>
                <a:gd name="T1" fmla="*/ 0 h 139"/>
                <a:gd name="T2" fmla="*/ 92 w 136"/>
                <a:gd name="T3" fmla="*/ 6 h 139"/>
                <a:gd name="T4" fmla="*/ 115 w 136"/>
                <a:gd name="T5" fmla="*/ 21 h 139"/>
                <a:gd name="T6" fmla="*/ 130 w 136"/>
                <a:gd name="T7" fmla="*/ 44 h 139"/>
                <a:gd name="T8" fmla="*/ 136 w 136"/>
                <a:gd name="T9" fmla="*/ 70 h 139"/>
                <a:gd name="T10" fmla="*/ 130 w 136"/>
                <a:gd name="T11" fmla="*/ 96 h 139"/>
                <a:gd name="T12" fmla="*/ 115 w 136"/>
                <a:gd name="T13" fmla="*/ 119 h 139"/>
                <a:gd name="T14" fmla="*/ 92 w 136"/>
                <a:gd name="T15" fmla="*/ 133 h 139"/>
                <a:gd name="T16" fmla="*/ 69 w 136"/>
                <a:gd name="T17" fmla="*/ 139 h 139"/>
                <a:gd name="T18" fmla="*/ 40 w 136"/>
                <a:gd name="T19" fmla="*/ 133 h 139"/>
                <a:gd name="T20" fmla="*/ 20 w 136"/>
                <a:gd name="T21" fmla="*/ 119 h 139"/>
                <a:gd name="T22" fmla="*/ 6 w 136"/>
                <a:gd name="T23" fmla="*/ 96 h 139"/>
                <a:gd name="T24" fmla="*/ 0 w 136"/>
                <a:gd name="T25" fmla="*/ 70 h 139"/>
                <a:gd name="T26" fmla="*/ 3 w 136"/>
                <a:gd name="T27" fmla="*/ 44 h 139"/>
                <a:gd name="T28" fmla="*/ 20 w 136"/>
                <a:gd name="T29" fmla="*/ 21 h 139"/>
                <a:gd name="T30" fmla="*/ 40 w 136"/>
                <a:gd name="T31" fmla="*/ 6 h 139"/>
                <a:gd name="T32" fmla="*/ 66 w 136"/>
                <a:gd name="T33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9">
                  <a:moveTo>
                    <a:pt x="66" y="0"/>
                  </a:moveTo>
                  <a:lnTo>
                    <a:pt x="92" y="6"/>
                  </a:lnTo>
                  <a:lnTo>
                    <a:pt x="115" y="21"/>
                  </a:lnTo>
                  <a:lnTo>
                    <a:pt x="130" y="44"/>
                  </a:lnTo>
                  <a:lnTo>
                    <a:pt x="136" y="70"/>
                  </a:lnTo>
                  <a:lnTo>
                    <a:pt x="130" y="96"/>
                  </a:lnTo>
                  <a:lnTo>
                    <a:pt x="115" y="119"/>
                  </a:lnTo>
                  <a:lnTo>
                    <a:pt x="92" y="133"/>
                  </a:lnTo>
                  <a:lnTo>
                    <a:pt x="69" y="139"/>
                  </a:lnTo>
                  <a:lnTo>
                    <a:pt x="40" y="133"/>
                  </a:lnTo>
                  <a:lnTo>
                    <a:pt x="20" y="119"/>
                  </a:lnTo>
                  <a:lnTo>
                    <a:pt x="6" y="96"/>
                  </a:lnTo>
                  <a:lnTo>
                    <a:pt x="0" y="70"/>
                  </a:lnTo>
                  <a:lnTo>
                    <a:pt x="3" y="44"/>
                  </a:lnTo>
                  <a:lnTo>
                    <a:pt x="20" y="21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4" name="Freeform 343">
              <a:extLst>
                <a:ext uri="{FF2B5EF4-FFF2-40B4-BE49-F238E27FC236}">
                  <a16:creationId xmlns:a16="http://schemas.microsoft.com/office/drawing/2014/main" id="{88CC011C-5A3D-4593-B93C-2C76385A7EA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136161" y="6246980"/>
              <a:ext cx="108808" cy="108808"/>
            </a:xfrm>
            <a:custGeom>
              <a:avLst/>
              <a:gdLst>
                <a:gd name="T0" fmla="*/ 66 w 136"/>
                <a:gd name="T1" fmla="*/ 0 h 136"/>
                <a:gd name="T2" fmla="*/ 92 w 136"/>
                <a:gd name="T3" fmla="*/ 6 h 136"/>
                <a:gd name="T4" fmla="*/ 115 w 136"/>
                <a:gd name="T5" fmla="*/ 20 h 136"/>
                <a:gd name="T6" fmla="*/ 130 w 136"/>
                <a:gd name="T7" fmla="*/ 43 h 136"/>
                <a:gd name="T8" fmla="*/ 136 w 136"/>
                <a:gd name="T9" fmla="*/ 69 h 136"/>
                <a:gd name="T10" fmla="*/ 130 w 136"/>
                <a:gd name="T11" fmla="*/ 95 h 136"/>
                <a:gd name="T12" fmla="*/ 115 w 136"/>
                <a:gd name="T13" fmla="*/ 118 h 136"/>
                <a:gd name="T14" fmla="*/ 95 w 136"/>
                <a:gd name="T15" fmla="*/ 133 h 136"/>
                <a:gd name="T16" fmla="*/ 69 w 136"/>
                <a:gd name="T17" fmla="*/ 136 h 136"/>
                <a:gd name="T18" fmla="*/ 43 w 136"/>
                <a:gd name="T19" fmla="*/ 133 h 136"/>
                <a:gd name="T20" fmla="*/ 20 w 136"/>
                <a:gd name="T21" fmla="*/ 118 h 136"/>
                <a:gd name="T22" fmla="*/ 6 w 136"/>
                <a:gd name="T23" fmla="*/ 95 h 136"/>
                <a:gd name="T24" fmla="*/ 0 w 136"/>
                <a:gd name="T25" fmla="*/ 69 h 136"/>
                <a:gd name="T26" fmla="*/ 6 w 136"/>
                <a:gd name="T27" fmla="*/ 43 h 136"/>
                <a:gd name="T28" fmla="*/ 20 w 136"/>
                <a:gd name="T29" fmla="*/ 20 h 136"/>
                <a:gd name="T30" fmla="*/ 40 w 136"/>
                <a:gd name="T31" fmla="*/ 6 h 136"/>
                <a:gd name="T32" fmla="*/ 66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6" y="0"/>
                  </a:moveTo>
                  <a:lnTo>
                    <a:pt x="92" y="6"/>
                  </a:lnTo>
                  <a:lnTo>
                    <a:pt x="115" y="20"/>
                  </a:lnTo>
                  <a:lnTo>
                    <a:pt x="130" y="43"/>
                  </a:lnTo>
                  <a:lnTo>
                    <a:pt x="136" y="69"/>
                  </a:lnTo>
                  <a:lnTo>
                    <a:pt x="130" y="95"/>
                  </a:lnTo>
                  <a:lnTo>
                    <a:pt x="115" y="118"/>
                  </a:lnTo>
                  <a:lnTo>
                    <a:pt x="95" y="133"/>
                  </a:lnTo>
                  <a:lnTo>
                    <a:pt x="69" y="136"/>
                  </a:lnTo>
                  <a:lnTo>
                    <a:pt x="43" y="133"/>
                  </a:lnTo>
                  <a:lnTo>
                    <a:pt x="20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5" name="Freeform 344">
              <a:extLst>
                <a:ext uri="{FF2B5EF4-FFF2-40B4-BE49-F238E27FC236}">
                  <a16:creationId xmlns:a16="http://schemas.microsoft.com/office/drawing/2014/main" id="{E5DEE0CA-33BB-451F-B91A-E50F335209E0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944947" y="6129371"/>
              <a:ext cx="108808" cy="111208"/>
            </a:xfrm>
            <a:custGeom>
              <a:avLst/>
              <a:gdLst>
                <a:gd name="T0" fmla="*/ 67 w 136"/>
                <a:gd name="T1" fmla="*/ 0 h 139"/>
                <a:gd name="T2" fmla="*/ 95 w 136"/>
                <a:gd name="T3" fmla="*/ 6 h 139"/>
                <a:gd name="T4" fmla="*/ 119 w 136"/>
                <a:gd name="T5" fmla="*/ 20 h 139"/>
                <a:gd name="T6" fmla="*/ 133 w 136"/>
                <a:gd name="T7" fmla="*/ 43 h 139"/>
                <a:gd name="T8" fmla="*/ 136 w 136"/>
                <a:gd name="T9" fmla="*/ 69 h 139"/>
                <a:gd name="T10" fmla="*/ 133 w 136"/>
                <a:gd name="T11" fmla="*/ 95 h 139"/>
                <a:gd name="T12" fmla="*/ 116 w 136"/>
                <a:gd name="T13" fmla="*/ 118 h 139"/>
                <a:gd name="T14" fmla="*/ 95 w 136"/>
                <a:gd name="T15" fmla="*/ 133 h 139"/>
                <a:gd name="T16" fmla="*/ 70 w 136"/>
                <a:gd name="T17" fmla="*/ 139 h 139"/>
                <a:gd name="T18" fmla="*/ 44 w 136"/>
                <a:gd name="T19" fmla="*/ 133 h 139"/>
                <a:gd name="T20" fmla="*/ 21 w 136"/>
                <a:gd name="T21" fmla="*/ 118 h 139"/>
                <a:gd name="T22" fmla="*/ 6 w 136"/>
                <a:gd name="T23" fmla="*/ 95 h 139"/>
                <a:gd name="T24" fmla="*/ 0 w 136"/>
                <a:gd name="T25" fmla="*/ 69 h 139"/>
                <a:gd name="T26" fmla="*/ 6 w 136"/>
                <a:gd name="T27" fmla="*/ 43 h 139"/>
                <a:gd name="T28" fmla="*/ 21 w 136"/>
                <a:gd name="T29" fmla="*/ 20 h 139"/>
                <a:gd name="T30" fmla="*/ 44 w 136"/>
                <a:gd name="T31" fmla="*/ 6 h 139"/>
                <a:gd name="T32" fmla="*/ 67 w 136"/>
                <a:gd name="T33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9">
                  <a:moveTo>
                    <a:pt x="67" y="0"/>
                  </a:moveTo>
                  <a:lnTo>
                    <a:pt x="95" y="6"/>
                  </a:lnTo>
                  <a:lnTo>
                    <a:pt x="119" y="20"/>
                  </a:lnTo>
                  <a:lnTo>
                    <a:pt x="133" y="43"/>
                  </a:lnTo>
                  <a:lnTo>
                    <a:pt x="136" y="69"/>
                  </a:lnTo>
                  <a:lnTo>
                    <a:pt x="133" y="95"/>
                  </a:lnTo>
                  <a:lnTo>
                    <a:pt x="116" y="118"/>
                  </a:lnTo>
                  <a:lnTo>
                    <a:pt x="95" y="133"/>
                  </a:lnTo>
                  <a:lnTo>
                    <a:pt x="70" y="139"/>
                  </a:lnTo>
                  <a:lnTo>
                    <a:pt x="44" y="133"/>
                  </a:lnTo>
                  <a:lnTo>
                    <a:pt x="21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1" y="20"/>
                  </a:lnTo>
                  <a:lnTo>
                    <a:pt x="44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6" name="Freeform 345">
              <a:extLst>
                <a:ext uri="{FF2B5EF4-FFF2-40B4-BE49-F238E27FC236}">
                  <a16:creationId xmlns:a16="http://schemas.microsoft.com/office/drawing/2014/main" id="{5C816927-468A-4131-B344-21E4F4EC43E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760933" y="6002961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5 w 135"/>
                <a:gd name="T3" fmla="*/ 3 h 135"/>
                <a:gd name="T4" fmla="*/ 115 w 135"/>
                <a:gd name="T5" fmla="*/ 20 h 135"/>
                <a:gd name="T6" fmla="*/ 130 w 135"/>
                <a:gd name="T7" fmla="*/ 40 h 135"/>
                <a:gd name="T8" fmla="*/ 135 w 135"/>
                <a:gd name="T9" fmla="*/ 66 h 135"/>
                <a:gd name="T10" fmla="*/ 133 w 135"/>
                <a:gd name="T11" fmla="*/ 92 h 135"/>
                <a:gd name="T12" fmla="*/ 115 w 135"/>
                <a:gd name="T13" fmla="*/ 115 h 135"/>
                <a:gd name="T14" fmla="*/ 95 w 135"/>
                <a:gd name="T15" fmla="*/ 129 h 135"/>
                <a:gd name="T16" fmla="*/ 69 w 135"/>
                <a:gd name="T17" fmla="*/ 135 h 135"/>
                <a:gd name="T18" fmla="*/ 43 w 135"/>
                <a:gd name="T19" fmla="*/ 129 h 135"/>
                <a:gd name="T20" fmla="*/ 20 w 135"/>
                <a:gd name="T21" fmla="*/ 115 h 135"/>
                <a:gd name="T22" fmla="*/ 6 w 135"/>
                <a:gd name="T23" fmla="*/ 92 h 135"/>
                <a:gd name="T24" fmla="*/ 0 w 135"/>
                <a:gd name="T25" fmla="*/ 69 h 135"/>
                <a:gd name="T26" fmla="*/ 6 w 135"/>
                <a:gd name="T27" fmla="*/ 40 h 135"/>
                <a:gd name="T28" fmla="*/ 20 w 135"/>
                <a:gd name="T29" fmla="*/ 20 h 135"/>
                <a:gd name="T30" fmla="*/ 40 w 135"/>
                <a:gd name="T31" fmla="*/ 5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5" y="3"/>
                  </a:lnTo>
                  <a:lnTo>
                    <a:pt x="115" y="20"/>
                  </a:lnTo>
                  <a:lnTo>
                    <a:pt x="130" y="40"/>
                  </a:lnTo>
                  <a:lnTo>
                    <a:pt x="135" y="66"/>
                  </a:lnTo>
                  <a:lnTo>
                    <a:pt x="133" y="92"/>
                  </a:lnTo>
                  <a:lnTo>
                    <a:pt x="115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3" y="129"/>
                  </a:lnTo>
                  <a:lnTo>
                    <a:pt x="20" y="115"/>
                  </a:lnTo>
                  <a:lnTo>
                    <a:pt x="6" y="92"/>
                  </a:lnTo>
                  <a:lnTo>
                    <a:pt x="0" y="69"/>
                  </a:lnTo>
                  <a:lnTo>
                    <a:pt x="6" y="40"/>
                  </a:lnTo>
                  <a:lnTo>
                    <a:pt x="20" y="20"/>
                  </a:lnTo>
                  <a:lnTo>
                    <a:pt x="40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7" name="Freeform 346">
              <a:extLst>
                <a:ext uri="{FF2B5EF4-FFF2-40B4-BE49-F238E27FC236}">
                  <a16:creationId xmlns:a16="http://schemas.microsoft.com/office/drawing/2014/main" id="{8C25900D-7635-4C45-884D-0FEAAC2A34B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583321" y="5864552"/>
              <a:ext cx="110408" cy="108008"/>
            </a:xfrm>
            <a:custGeom>
              <a:avLst/>
              <a:gdLst>
                <a:gd name="T0" fmla="*/ 69 w 138"/>
                <a:gd name="T1" fmla="*/ 0 h 135"/>
                <a:gd name="T2" fmla="*/ 95 w 138"/>
                <a:gd name="T3" fmla="*/ 5 h 135"/>
                <a:gd name="T4" fmla="*/ 118 w 138"/>
                <a:gd name="T5" fmla="*/ 20 h 135"/>
                <a:gd name="T6" fmla="*/ 133 w 138"/>
                <a:gd name="T7" fmla="*/ 40 h 135"/>
                <a:gd name="T8" fmla="*/ 138 w 138"/>
                <a:gd name="T9" fmla="*/ 66 h 135"/>
                <a:gd name="T10" fmla="*/ 133 w 138"/>
                <a:gd name="T11" fmla="*/ 92 h 135"/>
                <a:gd name="T12" fmla="*/ 118 w 138"/>
                <a:gd name="T13" fmla="*/ 115 h 135"/>
                <a:gd name="T14" fmla="*/ 95 w 138"/>
                <a:gd name="T15" fmla="*/ 129 h 135"/>
                <a:gd name="T16" fmla="*/ 69 w 138"/>
                <a:gd name="T17" fmla="*/ 135 h 135"/>
                <a:gd name="T18" fmla="*/ 43 w 138"/>
                <a:gd name="T19" fmla="*/ 129 h 135"/>
                <a:gd name="T20" fmla="*/ 20 w 138"/>
                <a:gd name="T21" fmla="*/ 115 h 135"/>
                <a:gd name="T22" fmla="*/ 6 w 138"/>
                <a:gd name="T23" fmla="*/ 95 h 135"/>
                <a:gd name="T24" fmla="*/ 0 w 138"/>
                <a:gd name="T25" fmla="*/ 69 h 135"/>
                <a:gd name="T26" fmla="*/ 6 w 138"/>
                <a:gd name="T27" fmla="*/ 43 h 135"/>
                <a:gd name="T28" fmla="*/ 20 w 138"/>
                <a:gd name="T29" fmla="*/ 20 h 135"/>
                <a:gd name="T30" fmla="*/ 43 w 138"/>
                <a:gd name="T31" fmla="*/ 5 h 135"/>
                <a:gd name="T32" fmla="*/ 69 w 138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5">
                  <a:moveTo>
                    <a:pt x="69" y="0"/>
                  </a:moveTo>
                  <a:lnTo>
                    <a:pt x="95" y="5"/>
                  </a:lnTo>
                  <a:lnTo>
                    <a:pt x="118" y="20"/>
                  </a:lnTo>
                  <a:lnTo>
                    <a:pt x="133" y="40"/>
                  </a:lnTo>
                  <a:lnTo>
                    <a:pt x="138" y="66"/>
                  </a:lnTo>
                  <a:lnTo>
                    <a:pt x="133" y="92"/>
                  </a:lnTo>
                  <a:lnTo>
                    <a:pt x="118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3" y="129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5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8" name="Freeform 347">
              <a:extLst>
                <a:ext uri="{FF2B5EF4-FFF2-40B4-BE49-F238E27FC236}">
                  <a16:creationId xmlns:a16="http://schemas.microsoft.com/office/drawing/2014/main" id="{0C9D3296-4CBF-4845-B5F2-BAD33554F500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496841" y="2004271"/>
              <a:ext cx="108008" cy="108808"/>
            </a:xfrm>
            <a:custGeom>
              <a:avLst/>
              <a:gdLst>
                <a:gd name="T0" fmla="*/ 66 w 135"/>
                <a:gd name="T1" fmla="*/ 0 h 136"/>
                <a:gd name="T2" fmla="*/ 95 w 135"/>
                <a:gd name="T3" fmla="*/ 6 h 136"/>
                <a:gd name="T4" fmla="*/ 115 w 135"/>
                <a:gd name="T5" fmla="*/ 18 h 136"/>
                <a:gd name="T6" fmla="*/ 129 w 135"/>
                <a:gd name="T7" fmla="*/ 41 h 136"/>
                <a:gd name="T8" fmla="*/ 135 w 135"/>
                <a:gd name="T9" fmla="*/ 67 h 136"/>
                <a:gd name="T10" fmla="*/ 132 w 135"/>
                <a:gd name="T11" fmla="*/ 92 h 136"/>
                <a:gd name="T12" fmla="*/ 115 w 135"/>
                <a:gd name="T13" fmla="*/ 116 h 136"/>
                <a:gd name="T14" fmla="*/ 95 w 135"/>
                <a:gd name="T15" fmla="*/ 130 h 136"/>
                <a:gd name="T16" fmla="*/ 69 w 135"/>
                <a:gd name="T17" fmla="*/ 136 h 136"/>
                <a:gd name="T18" fmla="*/ 43 w 135"/>
                <a:gd name="T19" fmla="*/ 130 h 136"/>
                <a:gd name="T20" fmla="*/ 20 w 135"/>
                <a:gd name="T21" fmla="*/ 116 h 136"/>
                <a:gd name="T22" fmla="*/ 6 w 135"/>
                <a:gd name="T23" fmla="*/ 92 h 136"/>
                <a:gd name="T24" fmla="*/ 0 w 135"/>
                <a:gd name="T25" fmla="*/ 69 h 136"/>
                <a:gd name="T26" fmla="*/ 6 w 135"/>
                <a:gd name="T27" fmla="*/ 41 h 136"/>
                <a:gd name="T28" fmla="*/ 20 w 135"/>
                <a:gd name="T29" fmla="*/ 20 h 136"/>
                <a:gd name="T30" fmla="*/ 43 w 135"/>
                <a:gd name="T31" fmla="*/ 3 h 136"/>
                <a:gd name="T32" fmla="*/ 66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6" y="0"/>
                  </a:moveTo>
                  <a:lnTo>
                    <a:pt x="95" y="6"/>
                  </a:lnTo>
                  <a:lnTo>
                    <a:pt x="115" y="18"/>
                  </a:lnTo>
                  <a:lnTo>
                    <a:pt x="129" y="41"/>
                  </a:lnTo>
                  <a:lnTo>
                    <a:pt x="135" y="67"/>
                  </a:lnTo>
                  <a:lnTo>
                    <a:pt x="132" y="92"/>
                  </a:lnTo>
                  <a:lnTo>
                    <a:pt x="115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6"/>
                  </a:lnTo>
                  <a:lnTo>
                    <a:pt x="6" y="92"/>
                  </a:lnTo>
                  <a:lnTo>
                    <a:pt x="0" y="69"/>
                  </a:lnTo>
                  <a:lnTo>
                    <a:pt x="6" y="41"/>
                  </a:lnTo>
                  <a:lnTo>
                    <a:pt x="20" y="20"/>
                  </a:lnTo>
                  <a:lnTo>
                    <a:pt x="43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9" name="Freeform 348">
              <a:extLst>
                <a:ext uri="{FF2B5EF4-FFF2-40B4-BE49-F238E27FC236}">
                  <a16:creationId xmlns:a16="http://schemas.microsoft.com/office/drawing/2014/main" id="{A406A9BF-AB59-481C-9A58-19B525F0FD0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406435" y="1727450"/>
              <a:ext cx="111208" cy="108808"/>
            </a:xfrm>
            <a:custGeom>
              <a:avLst/>
              <a:gdLst>
                <a:gd name="T0" fmla="*/ 67 w 139"/>
                <a:gd name="T1" fmla="*/ 0 h 136"/>
                <a:gd name="T2" fmla="*/ 95 w 139"/>
                <a:gd name="T3" fmla="*/ 3 h 136"/>
                <a:gd name="T4" fmla="*/ 116 w 139"/>
                <a:gd name="T5" fmla="*/ 20 h 136"/>
                <a:gd name="T6" fmla="*/ 133 w 139"/>
                <a:gd name="T7" fmla="*/ 40 h 136"/>
                <a:gd name="T8" fmla="*/ 139 w 139"/>
                <a:gd name="T9" fmla="*/ 66 h 136"/>
                <a:gd name="T10" fmla="*/ 133 w 139"/>
                <a:gd name="T11" fmla="*/ 92 h 136"/>
                <a:gd name="T12" fmla="*/ 118 w 139"/>
                <a:gd name="T13" fmla="*/ 115 h 136"/>
                <a:gd name="T14" fmla="*/ 95 w 139"/>
                <a:gd name="T15" fmla="*/ 130 h 136"/>
                <a:gd name="T16" fmla="*/ 69 w 139"/>
                <a:gd name="T17" fmla="*/ 136 h 136"/>
                <a:gd name="T18" fmla="*/ 44 w 139"/>
                <a:gd name="T19" fmla="*/ 130 h 136"/>
                <a:gd name="T20" fmla="*/ 20 w 139"/>
                <a:gd name="T21" fmla="*/ 115 h 136"/>
                <a:gd name="T22" fmla="*/ 6 w 139"/>
                <a:gd name="T23" fmla="*/ 95 h 136"/>
                <a:gd name="T24" fmla="*/ 0 w 139"/>
                <a:gd name="T25" fmla="*/ 69 h 136"/>
                <a:gd name="T26" fmla="*/ 6 w 139"/>
                <a:gd name="T27" fmla="*/ 43 h 136"/>
                <a:gd name="T28" fmla="*/ 20 w 139"/>
                <a:gd name="T29" fmla="*/ 20 h 136"/>
                <a:gd name="T30" fmla="*/ 44 w 139"/>
                <a:gd name="T31" fmla="*/ 6 h 136"/>
                <a:gd name="T32" fmla="*/ 67 w 139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6">
                  <a:moveTo>
                    <a:pt x="67" y="0"/>
                  </a:moveTo>
                  <a:lnTo>
                    <a:pt x="95" y="3"/>
                  </a:lnTo>
                  <a:lnTo>
                    <a:pt x="116" y="20"/>
                  </a:lnTo>
                  <a:lnTo>
                    <a:pt x="133" y="40"/>
                  </a:lnTo>
                  <a:lnTo>
                    <a:pt x="139" y="66"/>
                  </a:lnTo>
                  <a:lnTo>
                    <a:pt x="133" y="92"/>
                  </a:lnTo>
                  <a:lnTo>
                    <a:pt x="118" y="115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4" y="130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4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0" name="Freeform 349">
              <a:extLst>
                <a:ext uri="{FF2B5EF4-FFF2-40B4-BE49-F238E27FC236}">
                  <a16:creationId xmlns:a16="http://schemas.microsoft.com/office/drawing/2014/main" id="{62511CD1-4BE8-4119-9253-BC69A207382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499242" y="1522635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5 w 135"/>
                <a:gd name="T3" fmla="*/ 5 h 135"/>
                <a:gd name="T4" fmla="*/ 115 w 135"/>
                <a:gd name="T5" fmla="*/ 20 h 135"/>
                <a:gd name="T6" fmla="*/ 130 w 135"/>
                <a:gd name="T7" fmla="*/ 40 h 135"/>
                <a:gd name="T8" fmla="*/ 135 w 135"/>
                <a:gd name="T9" fmla="*/ 66 h 135"/>
                <a:gd name="T10" fmla="*/ 130 w 135"/>
                <a:gd name="T11" fmla="*/ 92 h 135"/>
                <a:gd name="T12" fmla="*/ 115 w 135"/>
                <a:gd name="T13" fmla="*/ 115 h 135"/>
                <a:gd name="T14" fmla="*/ 95 w 135"/>
                <a:gd name="T15" fmla="*/ 129 h 135"/>
                <a:gd name="T16" fmla="*/ 69 w 135"/>
                <a:gd name="T17" fmla="*/ 135 h 135"/>
                <a:gd name="T18" fmla="*/ 43 w 135"/>
                <a:gd name="T19" fmla="*/ 129 h 135"/>
                <a:gd name="T20" fmla="*/ 20 w 135"/>
                <a:gd name="T21" fmla="*/ 115 h 135"/>
                <a:gd name="T22" fmla="*/ 6 w 135"/>
                <a:gd name="T23" fmla="*/ 95 h 135"/>
                <a:gd name="T24" fmla="*/ 0 w 135"/>
                <a:gd name="T25" fmla="*/ 69 h 135"/>
                <a:gd name="T26" fmla="*/ 6 w 135"/>
                <a:gd name="T27" fmla="*/ 43 h 135"/>
                <a:gd name="T28" fmla="*/ 20 w 135"/>
                <a:gd name="T29" fmla="*/ 20 h 135"/>
                <a:gd name="T30" fmla="*/ 40 w 135"/>
                <a:gd name="T31" fmla="*/ 5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5" y="5"/>
                  </a:lnTo>
                  <a:lnTo>
                    <a:pt x="115" y="20"/>
                  </a:lnTo>
                  <a:lnTo>
                    <a:pt x="130" y="40"/>
                  </a:lnTo>
                  <a:lnTo>
                    <a:pt x="135" y="66"/>
                  </a:lnTo>
                  <a:lnTo>
                    <a:pt x="130" y="92"/>
                  </a:lnTo>
                  <a:lnTo>
                    <a:pt x="115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3" y="129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0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1" name="Freeform 350">
              <a:extLst>
                <a:ext uri="{FF2B5EF4-FFF2-40B4-BE49-F238E27FC236}">
                  <a16:creationId xmlns:a16="http://schemas.microsoft.com/office/drawing/2014/main" id="{F9FC4159-B346-4691-B822-774D645D4CC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600049" y="1324221"/>
              <a:ext cx="108808" cy="108808"/>
            </a:xfrm>
            <a:custGeom>
              <a:avLst/>
              <a:gdLst>
                <a:gd name="T0" fmla="*/ 66 w 136"/>
                <a:gd name="T1" fmla="*/ 0 h 136"/>
                <a:gd name="T2" fmla="*/ 92 w 136"/>
                <a:gd name="T3" fmla="*/ 6 h 136"/>
                <a:gd name="T4" fmla="*/ 115 w 136"/>
                <a:gd name="T5" fmla="*/ 21 h 136"/>
                <a:gd name="T6" fmla="*/ 130 w 136"/>
                <a:gd name="T7" fmla="*/ 41 h 136"/>
                <a:gd name="T8" fmla="*/ 136 w 136"/>
                <a:gd name="T9" fmla="*/ 67 h 136"/>
                <a:gd name="T10" fmla="*/ 130 w 136"/>
                <a:gd name="T11" fmla="*/ 93 h 136"/>
                <a:gd name="T12" fmla="*/ 115 w 136"/>
                <a:gd name="T13" fmla="*/ 116 h 136"/>
                <a:gd name="T14" fmla="*/ 92 w 136"/>
                <a:gd name="T15" fmla="*/ 130 h 136"/>
                <a:gd name="T16" fmla="*/ 69 w 136"/>
                <a:gd name="T17" fmla="*/ 136 h 136"/>
                <a:gd name="T18" fmla="*/ 40 w 136"/>
                <a:gd name="T19" fmla="*/ 130 h 136"/>
                <a:gd name="T20" fmla="*/ 20 w 136"/>
                <a:gd name="T21" fmla="*/ 116 h 136"/>
                <a:gd name="T22" fmla="*/ 6 w 136"/>
                <a:gd name="T23" fmla="*/ 96 h 136"/>
                <a:gd name="T24" fmla="*/ 0 w 136"/>
                <a:gd name="T25" fmla="*/ 70 h 136"/>
                <a:gd name="T26" fmla="*/ 3 w 136"/>
                <a:gd name="T27" fmla="*/ 44 h 136"/>
                <a:gd name="T28" fmla="*/ 20 w 136"/>
                <a:gd name="T29" fmla="*/ 21 h 136"/>
                <a:gd name="T30" fmla="*/ 40 w 136"/>
                <a:gd name="T31" fmla="*/ 6 h 136"/>
                <a:gd name="T32" fmla="*/ 66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6" y="0"/>
                  </a:moveTo>
                  <a:lnTo>
                    <a:pt x="92" y="6"/>
                  </a:lnTo>
                  <a:lnTo>
                    <a:pt x="115" y="21"/>
                  </a:lnTo>
                  <a:lnTo>
                    <a:pt x="130" y="41"/>
                  </a:lnTo>
                  <a:lnTo>
                    <a:pt x="136" y="67"/>
                  </a:lnTo>
                  <a:lnTo>
                    <a:pt x="130" y="93"/>
                  </a:lnTo>
                  <a:lnTo>
                    <a:pt x="115" y="116"/>
                  </a:lnTo>
                  <a:lnTo>
                    <a:pt x="92" y="130"/>
                  </a:lnTo>
                  <a:lnTo>
                    <a:pt x="69" y="136"/>
                  </a:lnTo>
                  <a:lnTo>
                    <a:pt x="40" y="130"/>
                  </a:lnTo>
                  <a:lnTo>
                    <a:pt x="20" y="116"/>
                  </a:lnTo>
                  <a:lnTo>
                    <a:pt x="6" y="96"/>
                  </a:lnTo>
                  <a:lnTo>
                    <a:pt x="0" y="70"/>
                  </a:lnTo>
                  <a:lnTo>
                    <a:pt x="3" y="44"/>
                  </a:lnTo>
                  <a:lnTo>
                    <a:pt x="20" y="21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2" name="Freeform 351">
              <a:extLst>
                <a:ext uri="{FF2B5EF4-FFF2-40B4-BE49-F238E27FC236}">
                  <a16:creationId xmlns:a16="http://schemas.microsoft.com/office/drawing/2014/main" id="{0538CE60-F210-4624-BD69-E9E3DE7B891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716057" y="1130606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5 w 135"/>
                <a:gd name="T3" fmla="*/ 5 h 135"/>
                <a:gd name="T4" fmla="*/ 115 w 135"/>
                <a:gd name="T5" fmla="*/ 20 h 135"/>
                <a:gd name="T6" fmla="*/ 130 w 135"/>
                <a:gd name="T7" fmla="*/ 40 h 135"/>
                <a:gd name="T8" fmla="*/ 135 w 135"/>
                <a:gd name="T9" fmla="*/ 66 h 135"/>
                <a:gd name="T10" fmla="*/ 130 w 135"/>
                <a:gd name="T11" fmla="*/ 92 h 135"/>
                <a:gd name="T12" fmla="*/ 115 w 135"/>
                <a:gd name="T13" fmla="*/ 115 h 135"/>
                <a:gd name="T14" fmla="*/ 95 w 135"/>
                <a:gd name="T15" fmla="*/ 129 h 135"/>
                <a:gd name="T16" fmla="*/ 69 w 135"/>
                <a:gd name="T17" fmla="*/ 135 h 135"/>
                <a:gd name="T18" fmla="*/ 43 w 135"/>
                <a:gd name="T19" fmla="*/ 129 h 135"/>
                <a:gd name="T20" fmla="*/ 20 w 135"/>
                <a:gd name="T21" fmla="*/ 115 h 135"/>
                <a:gd name="T22" fmla="*/ 6 w 135"/>
                <a:gd name="T23" fmla="*/ 92 h 135"/>
                <a:gd name="T24" fmla="*/ 0 w 135"/>
                <a:gd name="T25" fmla="*/ 66 h 135"/>
                <a:gd name="T26" fmla="*/ 6 w 135"/>
                <a:gd name="T27" fmla="*/ 40 h 135"/>
                <a:gd name="T28" fmla="*/ 20 w 135"/>
                <a:gd name="T29" fmla="*/ 20 h 135"/>
                <a:gd name="T30" fmla="*/ 43 w 135"/>
                <a:gd name="T31" fmla="*/ 2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5" y="5"/>
                  </a:lnTo>
                  <a:lnTo>
                    <a:pt x="115" y="20"/>
                  </a:lnTo>
                  <a:lnTo>
                    <a:pt x="130" y="40"/>
                  </a:lnTo>
                  <a:lnTo>
                    <a:pt x="135" y="66"/>
                  </a:lnTo>
                  <a:lnTo>
                    <a:pt x="130" y="92"/>
                  </a:lnTo>
                  <a:lnTo>
                    <a:pt x="115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3" y="129"/>
                  </a:lnTo>
                  <a:lnTo>
                    <a:pt x="20" y="115"/>
                  </a:lnTo>
                  <a:lnTo>
                    <a:pt x="6" y="92"/>
                  </a:lnTo>
                  <a:lnTo>
                    <a:pt x="0" y="66"/>
                  </a:lnTo>
                  <a:lnTo>
                    <a:pt x="6" y="40"/>
                  </a:lnTo>
                  <a:lnTo>
                    <a:pt x="20" y="20"/>
                  </a:lnTo>
                  <a:lnTo>
                    <a:pt x="43" y="2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3" name="Freeform 352">
              <a:extLst>
                <a:ext uri="{FF2B5EF4-FFF2-40B4-BE49-F238E27FC236}">
                  <a16:creationId xmlns:a16="http://schemas.microsoft.com/office/drawing/2014/main" id="{083A89AB-0A62-4F05-92AD-851ED023A27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840066" y="945793"/>
              <a:ext cx="108808" cy="108808"/>
            </a:xfrm>
            <a:custGeom>
              <a:avLst/>
              <a:gdLst>
                <a:gd name="T0" fmla="*/ 67 w 136"/>
                <a:gd name="T1" fmla="*/ 0 h 136"/>
                <a:gd name="T2" fmla="*/ 92 w 136"/>
                <a:gd name="T3" fmla="*/ 6 h 136"/>
                <a:gd name="T4" fmla="*/ 116 w 136"/>
                <a:gd name="T5" fmla="*/ 20 h 136"/>
                <a:gd name="T6" fmla="*/ 130 w 136"/>
                <a:gd name="T7" fmla="*/ 40 h 136"/>
                <a:gd name="T8" fmla="*/ 136 w 136"/>
                <a:gd name="T9" fmla="*/ 66 h 136"/>
                <a:gd name="T10" fmla="*/ 130 w 136"/>
                <a:gd name="T11" fmla="*/ 95 h 136"/>
                <a:gd name="T12" fmla="*/ 116 w 136"/>
                <a:gd name="T13" fmla="*/ 115 h 136"/>
                <a:gd name="T14" fmla="*/ 95 w 136"/>
                <a:gd name="T15" fmla="*/ 133 h 136"/>
                <a:gd name="T16" fmla="*/ 69 w 136"/>
                <a:gd name="T17" fmla="*/ 136 h 136"/>
                <a:gd name="T18" fmla="*/ 41 w 136"/>
                <a:gd name="T19" fmla="*/ 133 h 136"/>
                <a:gd name="T20" fmla="*/ 20 w 136"/>
                <a:gd name="T21" fmla="*/ 115 h 136"/>
                <a:gd name="T22" fmla="*/ 6 w 136"/>
                <a:gd name="T23" fmla="*/ 95 h 136"/>
                <a:gd name="T24" fmla="*/ 0 w 136"/>
                <a:gd name="T25" fmla="*/ 69 h 136"/>
                <a:gd name="T26" fmla="*/ 3 w 136"/>
                <a:gd name="T27" fmla="*/ 43 h 136"/>
                <a:gd name="T28" fmla="*/ 20 w 136"/>
                <a:gd name="T29" fmla="*/ 20 h 136"/>
                <a:gd name="T30" fmla="*/ 41 w 136"/>
                <a:gd name="T31" fmla="*/ 6 h 136"/>
                <a:gd name="T32" fmla="*/ 67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7" y="0"/>
                  </a:moveTo>
                  <a:lnTo>
                    <a:pt x="92" y="6"/>
                  </a:lnTo>
                  <a:lnTo>
                    <a:pt x="116" y="20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0" y="95"/>
                  </a:lnTo>
                  <a:lnTo>
                    <a:pt x="116" y="115"/>
                  </a:lnTo>
                  <a:lnTo>
                    <a:pt x="95" y="133"/>
                  </a:lnTo>
                  <a:lnTo>
                    <a:pt x="69" y="136"/>
                  </a:lnTo>
                  <a:lnTo>
                    <a:pt x="41" y="133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3" y="43"/>
                  </a:lnTo>
                  <a:lnTo>
                    <a:pt x="20" y="20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4" name="Freeform 353">
              <a:extLst>
                <a:ext uri="{FF2B5EF4-FFF2-40B4-BE49-F238E27FC236}">
                  <a16:creationId xmlns:a16="http://schemas.microsoft.com/office/drawing/2014/main" id="{89AAD100-AFDB-4F06-9ED4-2F2F90BC276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976076" y="768180"/>
              <a:ext cx="108808" cy="108808"/>
            </a:xfrm>
            <a:custGeom>
              <a:avLst/>
              <a:gdLst>
                <a:gd name="T0" fmla="*/ 66 w 136"/>
                <a:gd name="T1" fmla="*/ 0 h 136"/>
                <a:gd name="T2" fmla="*/ 92 w 136"/>
                <a:gd name="T3" fmla="*/ 6 h 136"/>
                <a:gd name="T4" fmla="*/ 115 w 136"/>
                <a:gd name="T5" fmla="*/ 20 h 136"/>
                <a:gd name="T6" fmla="*/ 130 w 136"/>
                <a:gd name="T7" fmla="*/ 43 h 136"/>
                <a:gd name="T8" fmla="*/ 136 w 136"/>
                <a:gd name="T9" fmla="*/ 66 h 136"/>
                <a:gd name="T10" fmla="*/ 130 w 136"/>
                <a:gd name="T11" fmla="*/ 95 h 136"/>
                <a:gd name="T12" fmla="*/ 115 w 136"/>
                <a:gd name="T13" fmla="*/ 115 h 136"/>
                <a:gd name="T14" fmla="*/ 92 w 136"/>
                <a:gd name="T15" fmla="*/ 133 h 136"/>
                <a:gd name="T16" fmla="*/ 66 w 136"/>
                <a:gd name="T17" fmla="*/ 136 h 136"/>
                <a:gd name="T18" fmla="*/ 40 w 136"/>
                <a:gd name="T19" fmla="*/ 133 h 136"/>
                <a:gd name="T20" fmla="*/ 17 w 136"/>
                <a:gd name="T21" fmla="*/ 118 h 136"/>
                <a:gd name="T22" fmla="*/ 3 w 136"/>
                <a:gd name="T23" fmla="*/ 95 h 136"/>
                <a:gd name="T24" fmla="*/ 0 w 136"/>
                <a:gd name="T25" fmla="*/ 69 h 136"/>
                <a:gd name="T26" fmla="*/ 3 w 136"/>
                <a:gd name="T27" fmla="*/ 43 h 136"/>
                <a:gd name="T28" fmla="*/ 17 w 136"/>
                <a:gd name="T29" fmla="*/ 20 h 136"/>
                <a:gd name="T30" fmla="*/ 40 w 136"/>
                <a:gd name="T31" fmla="*/ 6 h 136"/>
                <a:gd name="T32" fmla="*/ 66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6" y="0"/>
                  </a:moveTo>
                  <a:lnTo>
                    <a:pt x="92" y="6"/>
                  </a:lnTo>
                  <a:lnTo>
                    <a:pt x="115" y="20"/>
                  </a:lnTo>
                  <a:lnTo>
                    <a:pt x="130" y="43"/>
                  </a:lnTo>
                  <a:lnTo>
                    <a:pt x="136" y="66"/>
                  </a:lnTo>
                  <a:lnTo>
                    <a:pt x="130" y="95"/>
                  </a:lnTo>
                  <a:lnTo>
                    <a:pt x="115" y="115"/>
                  </a:lnTo>
                  <a:lnTo>
                    <a:pt x="92" y="133"/>
                  </a:lnTo>
                  <a:lnTo>
                    <a:pt x="66" y="136"/>
                  </a:lnTo>
                  <a:lnTo>
                    <a:pt x="40" y="133"/>
                  </a:lnTo>
                  <a:lnTo>
                    <a:pt x="17" y="118"/>
                  </a:lnTo>
                  <a:lnTo>
                    <a:pt x="3" y="95"/>
                  </a:lnTo>
                  <a:lnTo>
                    <a:pt x="0" y="69"/>
                  </a:lnTo>
                  <a:lnTo>
                    <a:pt x="3" y="43"/>
                  </a:lnTo>
                  <a:lnTo>
                    <a:pt x="17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5" name="Freeform 354">
              <a:extLst>
                <a:ext uri="{FF2B5EF4-FFF2-40B4-BE49-F238E27FC236}">
                  <a16:creationId xmlns:a16="http://schemas.microsoft.com/office/drawing/2014/main" id="{7FEFF577-0907-428E-9387-D33892F2B9F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2175509" y="6867825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2 w 135"/>
                <a:gd name="T3" fmla="*/ 3 h 135"/>
                <a:gd name="T4" fmla="*/ 115 w 135"/>
                <a:gd name="T5" fmla="*/ 20 h 135"/>
                <a:gd name="T6" fmla="*/ 129 w 135"/>
                <a:gd name="T7" fmla="*/ 40 h 135"/>
                <a:gd name="T8" fmla="*/ 135 w 135"/>
                <a:gd name="T9" fmla="*/ 66 h 135"/>
                <a:gd name="T10" fmla="*/ 132 w 135"/>
                <a:gd name="T11" fmla="*/ 92 h 135"/>
                <a:gd name="T12" fmla="*/ 115 w 135"/>
                <a:gd name="T13" fmla="*/ 115 h 135"/>
                <a:gd name="T14" fmla="*/ 95 w 135"/>
                <a:gd name="T15" fmla="*/ 130 h 135"/>
                <a:gd name="T16" fmla="*/ 69 w 135"/>
                <a:gd name="T17" fmla="*/ 135 h 135"/>
                <a:gd name="T18" fmla="*/ 43 w 135"/>
                <a:gd name="T19" fmla="*/ 130 h 135"/>
                <a:gd name="T20" fmla="*/ 20 w 135"/>
                <a:gd name="T21" fmla="*/ 115 h 135"/>
                <a:gd name="T22" fmla="*/ 5 w 135"/>
                <a:gd name="T23" fmla="*/ 92 h 135"/>
                <a:gd name="T24" fmla="*/ 0 w 135"/>
                <a:gd name="T25" fmla="*/ 69 h 135"/>
                <a:gd name="T26" fmla="*/ 5 w 135"/>
                <a:gd name="T27" fmla="*/ 40 h 135"/>
                <a:gd name="T28" fmla="*/ 20 w 135"/>
                <a:gd name="T29" fmla="*/ 20 h 135"/>
                <a:gd name="T30" fmla="*/ 40 w 135"/>
                <a:gd name="T31" fmla="*/ 6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2" y="3"/>
                  </a:lnTo>
                  <a:lnTo>
                    <a:pt x="115" y="20"/>
                  </a:lnTo>
                  <a:lnTo>
                    <a:pt x="129" y="40"/>
                  </a:lnTo>
                  <a:lnTo>
                    <a:pt x="135" y="66"/>
                  </a:lnTo>
                  <a:lnTo>
                    <a:pt x="132" y="92"/>
                  </a:lnTo>
                  <a:lnTo>
                    <a:pt x="115" y="115"/>
                  </a:lnTo>
                  <a:lnTo>
                    <a:pt x="95" y="130"/>
                  </a:lnTo>
                  <a:lnTo>
                    <a:pt x="69" y="135"/>
                  </a:lnTo>
                  <a:lnTo>
                    <a:pt x="43" y="130"/>
                  </a:lnTo>
                  <a:lnTo>
                    <a:pt x="20" y="115"/>
                  </a:lnTo>
                  <a:lnTo>
                    <a:pt x="5" y="92"/>
                  </a:lnTo>
                  <a:lnTo>
                    <a:pt x="0" y="69"/>
                  </a:lnTo>
                  <a:lnTo>
                    <a:pt x="5" y="40"/>
                  </a:lnTo>
                  <a:lnTo>
                    <a:pt x="20" y="20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6" name="Freeform 355">
              <a:extLst>
                <a:ext uri="{FF2B5EF4-FFF2-40B4-BE49-F238E27FC236}">
                  <a16:creationId xmlns:a16="http://schemas.microsoft.com/office/drawing/2014/main" id="{0D72A932-3CA1-4EF3-A75A-258F0257114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728277" y="6876626"/>
              <a:ext cx="108008" cy="108808"/>
            </a:xfrm>
            <a:custGeom>
              <a:avLst/>
              <a:gdLst>
                <a:gd name="T0" fmla="*/ 66 w 135"/>
                <a:gd name="T1" fmla="*/ 0 h 136"/>
                <a:gd name="T2" fmla="*/ 95 w 135"/>
                <a:gd name="T3" fmla="*/ 6 h 136"/>
                <a:gd name="T4" fmla="*/ 115 w 135"/>
                <a:gd name="T5" fmla="*/ 20 h 136"/>
                <a:gd name="T6" fmla="*/ 133 w 135"/>
                <a:gd name="T7" fmla="*/ 41 h 136"/>
                <a:gd name="T8" fmla="*/ 135 w 135"/>
                <a:gd name="T9" fmla="*/ 67 h 136"/>
                <a:gd name="T10" fmla="*/ 133 w 135"/>
                <a:gd name="T11" fmla="*/ 93 h 136"/>
                <a:gd name="T12" fmla="*/ 115 w 135"/>
                <a:gd name="T13" fmla="*/ 116 h 136"/>
                <a:gd name="T14" fmla="*/ 95 w 135"/>
                <a:gd name="T15" fmla="*/ 130 h 136"/>
                <a:gd name="T16" fmla="*/ 69 w 135"/>
                <a:gd name="T17" fmla="*/ 136 h 136"/>
                <a:gd name="T18" fmla="*/ 43 w 135"/>
                <a:gd name="T19" fmla="*/ 133 h 136"/>
                <a:gd name="T20" fmla="*/ 20 w 135"/>
                <a:gd name="T21" fmla="*/ 116 h 136"/>
                <a:gd name="T22" fmla="*/ 6 w 135"/>
                <a:gd name="T23" fmla="*/ 95 h 136"/>
                <a:gd name="T24" fmla="*/ 0 w 135"/>
                <a:gd name="T25" fmla="*/ 69 h 136"/>
                <a:gd name="T26" fmla="*/ 6 w 135"/>
                <a:gd name="T27" fmla="*/ 44 h 136"/>
                <a:gd name="T28" fmla="*/ 20 w 135"/>
                <a:gd name="T29" fmla="*/ 20 h 136"/>
                <a:gd name="T30" fmla="*/ 43 w 135"/>
                <a:gd name="T31" fmla="*/ 6 h 136"/>
                <a:gd name="T32" fmla="*/ 66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6" y="0"/>
                  </a:moveTo>
                  <a:lnTo>
                    <a:pt x="95" y="6"/>
                  </a:lnTo>
                  <a:lnTo>
                    <a:pt x="115" y="20"/>
                  </a:lnTo>
                  <a:lnTo>
                    <a:pt x="133" y="41"/>
                  </a:lnTo>
                  <a:lnTo>
                    <a:pt x="135" y="67"/>
                  </a:lnTo>
                  <a:lnTo>
                    <a:pt x="133" y="93"/>
                  </a:lnTo>
                  <a:lnTo>
                    <a:pt x="115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3"/>
                  </a:lnTo>
                  <a:lnTo>
                    <a:pt x="20" y="116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4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7" name="Freeform 356">
              <a:extLst>
                <a:ext uri="{FF2B5EF4-FFF2-40B4-BE49-F238E27FC236}">
                  <a16:creationId xmlns:a16="http://schemas.microsoft.com/office/drawing/2014/main" id="{777D9382-46B4-43EE-8937-9F5725444C2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504260" y="6860624"/>
              <a:ext cx="108008" cy="108808"/>
            </a:xfrm>
            <a:custGeom>
              <a:avLst/>
              <a:gdLst>
                <a:gd name="T0" fmla="*/ 66 w 135"/>
                <a:gd name="T1" fmla="*/ 0 h 136"/>
                <a:gd name="T2" fmla="*/ 95 w 135"/>
                <a:gd name="T3" fmla="*/ 6 h 136"/>
                <a:gd name="T4" fmla="*/ 115 w 135"/>
                <a:gd name="T5" fmla="*/ 21 h 136"/>
                <a:gd name="T6" fmla="*/ 129 w 135"/>
                <a:gd name="T7" fmla="*/ 41 h 136"/>
                <a:gd name="T8" fmla="*/ 135 w 135"/>
                <a:gd name="T9" fmla="*/ 67 h 136"/>
                <a:gd name="T10" fmla="*/ 129 w 135"/>
                <a:gd name="T11" fmla="*/ 93 h 136"/>
                <a:gd name="T12" fmla="*/ 115 w 135"/>
                <a:gd name="T13" fmla="*/ 116 h 136"/>
                <a:gd name="T14" fmla="*/ 95 w 135"/>
                <a:gd name="T15" fmla="*/ 130 h 136"/>
                <a:gd name="T16" fmla="*/ 69 w 135"/>
                <a:gd name="T17" fmla="*/ 136 h 136"/>
                <a:gd name="T18" fmla="*/ 43 w 135"/>
                <a:gd name="T19" fmla="*/ 130 h 136"/>
                <a:gd name="T20" fmla="*/ 20 w 135"/>
                <a:gd name="T21" fmla="*/ 116 h 136"/>
                <a:gd name="T22" fmla="*/ 5 w 135"/>
                <a:gd name="T23" fmla="*/ 96 h 136"/>
                <a:gd name="T24" fmla="*/ 0 w 135"/>
                <a:gd name="T25" fmla="*/ 70 h 136"/>
                <a:gd name="T26" fmla="*/ 5 w 135"/>
                <a:gd name="T27" fmla="*/ 44 h 136"/>
                <a:gd name="T28" fmla="*/ 20 w 135"/>
                <a:gd name="T29" fmla="*/ 21 h 136"/>
                <a:gd name="T30" fmla="*/ 43 w 135"/>
                <a:gd name="T31" fmla="*/ 6 h 136"/>
                <a:gd name="T32" fmla="*/ 66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6" y="0"/>
                  </a:moveTo>
                  <a:lnTo>
                    <a:pt x="95" y="6"/>
                  </a:lnTo>
                  <a:lnTo>
                    <a:pt x="115" y="21"/>
                  </a:lnTo>
                  <a:lnTo>
                    <a:pt x="129" y="41"/>
                  </a:lnTo>
                  <a:lnTo>
                    <a:pt x="135" y="67"/>
                  </a:lnTo>
                  <a:lnTo>
                    <a:pt x="129" y="93"/>
                  </a:lnTo>
                  <a:lnTo>
                    <a:pt x="115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6"/>
                  </a:lnTo>
                  <a:lnTo>
                    <a:pt x="5" y="96"/>
                  </a:lnTo>
                  <a:lnTo>
                    <a:pt x="0" y="70"/>
                  </a:lnTo>
                  <a:lnTo>
                    <a:pt x="5" y="44"/>
                  </a:lnTo>
                  <a:lnTo>
                    <a:pt x="20" y="21"/>
                  </a:lnTo>
                  <a:lnTo>
                    <a:pt x="43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8" name="Freeform 357">
              <a:extLst>
                <a:ext uri="{FF2B5EF4-FFF2-40B4-BE49-F238E27FC236}">
                  <a16:creationId xmlns:a16="http://schemas.microsoft.com/office/drawing/2014/main" id="{25794CD0-2757-46E5-9405-733A1B903F3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280244" y="6831022"/>
              <a:ext cx="108808" cy="108008"/>
            </a:xfrm>
            <a:custGeom>
              <a:avLst/>
              <a:gdLst>
                <a:gd name="T0" fmla="*/ 66 w 136"/>
                <a:gd name="T1" fmla="*/ 0 h 135"/>
                <a:gd name="T2" fmla="*/ 92 w 136"/>
                <a:gd name="T3" fmla="*/ 3 h 135"/>
                <a:gd name="T4" fmla="*/ 115 w 136"/>
                <a:gd name="T5" fmla="*/ 17 h 135"/>
                <a:gd name="T6" fmla="*/ 130 w 136"/>
                <a:gd name="T7" fmla="*/ 40 h 135"/>
                <a:gd name="T8" fmla="*/ 136 w 136"/>
                <a:gd name="T9" fmla="*/ 66 h 135"/>
                <a:gd name="T10" fmla="*/ 130 w 136"/>
                <a:gd name="T11" fmla="*/ 92 h 135"/>
                <a:gd name="T12" fmla="*/ 115 w 136"/>
                <a:gd name="T13" fmla="*/ 115 h 135"/>
                <a:gd name="T14" fmla="*/ 92 w 136"/>
                <a:gd name="T15" fmla="*/ 130 h 135"/>
                <a:gd name="T16" fmla="*/ 66 w 136"/>
                <a:gd name="T17" fmla="*/ 135 h 135"/>
                <a:gd name="T18" fmla="*/ 41 w 136"/>
                <a:gd name="T19" fmla="*/ 130 h 135"/>
                <a:gd name="T20" fmla="*/ 17 w 136"/>
                <a:gd name="T21" fmla="*/ 115 h 135"/>
                <a:gd name="T22" fmla="*/ 3 w 136"/>
                <a:gd name="T23" fmla="*/ 92 h 135"/>
                <a:gd name="T24" fmla="*/ 0 w 136"/>
                <a:gd name="T25" fmla="*/ 66 h 135"/>
                <a:gd name="T26" fmla="*/ 3 w 136"/>
                <a:gd name="T27" fmla="*/ 40 h 135"/>
                <a:gd name="T28" fmla="*/ 17 w 136"/>
                <a:gd name="T29" fmla="*/ 17 h 135"/>
                <a:gd name="T30" fmla="*/ 41 w 136"/>
                <a:gd name="T31" fmla="*/ 3 h 135"/>
                <a:gd name="T32" fmla="*/ 66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6" y="0"/>
                  </a:moveTo>
                  <a:lnTo>
                    <a:pt x="92" y="3"/>
                  </a:lnTo>
                  <a:lnTo>
                    <a:pt x="115" y="17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0" y="92"/>
                  </a:lnTo>
                  <a:lnTo>
                    <a:pt x="115" y="115"/>
                  </a:lnTo>
                  <a:lnTo>
                    <a:pt x="92" y="130"/>
                  </a:lnTo>
                  <a:lnTo>
                    <a:pt x="66" y="135"/>
                  </a:lnTo>
                  <a:lnTo>
                    <a:pt x="41" y="130"/>
                  </a:lnTo>
                  <a:lnTo>
                    <a:pt x="17" y="115"/>
                  </a:lnTo>
                  <a:lnTo>
                    <a:pt x="3" y="92"/>
                  </a:lnTo>
                  <a:lnTo>
                    <a:pt x="0" y="66"/>
                  </a:lnTo>
                  <a:lnTo>
                    <a:pt x="3" y="40"/>
                  </a:lnTo>
                  <a:lnTo>
                    <a:pt x="17" y="17"/>
                  </a:lnTo>
                  <a:lnTo>
                    <a:pt x="41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9" name="Freeform 358">
              <a:extLst>
                <a:ext uri="{FF2B5EF4-FFF2-40B4-BE49-F238E27FC236}">
                  <a16:creationId xmlns:a16="http://schemas.microsoft.com/office/drawing/2014/main" id="{5106B9E9-8E95-4589-BCD2-8F33ADFA3C8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629797" y="6664610"/>
              <a:ext cx="108808" cy="108808"/>
            </a:xfrm>
            <a:custGeom>
              <a:avLst/>
              <a:gdLst>
                <a:gd name="T0" fmla="*/ 66 w 136"/>
                <a:gd name="T1" fmla="*/ 0 h 136"/>
                <a:gd name="T2" fmla="*/ 92 w 136"/>
                <a:gd name="T3" fmla="*/ 3 h 136"/>
                <a:gd name="T4" fmla="*/ 115 w 136"/>
                <a:gd name="T5" fmla="*/ 21 h 136"/>
                <a:gd name="T6" fmla="*/ 130 w 136"/>
                <a:gd name="T7" fmla="*/ 41 h 136"/>
                <a:gd name="T8" fmla="*/ 136 w 136"/>
                <a:gd name="T9" fmla="*/ 67 h 136"/>
                <a:gd name="T10" fmla="*/ 130 w 136"/>
                <a:gd name="T11" fmla="*/ 93 h 136"/>
                <a:gd name="T12" fmla="*/ 115 w 136"/>
                <a:gd name="T13" fmla="*/ 116 h 136"/>
                <a:gd name="T14" fmla="*/ 92 w 136"/>
                <a:gd name="T15" fmla="*/ 130 h 136"/>
                <a:gd name="T16" fmla="*/ 69 w 136"/>
                <a:gd name="T17" fmla="*/ 136 h 136"/>
                <a:gd name="T18" fmla="*/ 40 w 136"/>
                <a:gd name="T19" fmla="*/ 130 h 136"/>
                <a:gd name="T20" fmla="*/ 20 w 136"/>
                <a:gd name="T21" fmla="*/ 116 h 136"/>
                <a:gd name="T22" fmla="*/ 6 w 136"/>
                <a:gd name="T23" fmla="*/ 93 h 136"/>
                <a:gd name="T24" fmla="*/ 0 w 136"/>
                <a:gd name="T25" fmla="*/ 70 h 136"/>
                <a:gd name="T26" fmla="*/ 3 w 136"/>
                <a:gd name="T27" fmla="*/ 41 h 136"/>
                <a:gd name="T28" fmla="*/ 20 w 136"/>
                <a:gd name="T29" fmla="*/ 21 h 136"/>
                <a:gd name="T30" fmla="*/ 40 w 136"/>
                <a:gd name="T31" fmla="*/ 6 h 136"/>
                <a:gd name="T32" fmla="*/ 66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6" y="0"/>
                  </a:moveTo>
                  <a:lnTo>
                    <a:pt x="92" y="3"/>
                  </a:lnTo>
                  <a:lnTo>
                    <a:pt x="115" y="21"/>
                  </a:lnTo>
                  <a:lnTo>
                    <a:pt x="130" y="41"/>
                  </a:lnTo>
                  <a:lnTo>
                    <a:pt x="136" y="67"/>
                  </a:lnTo>
                  <a:lnTo>
                    <a:pt x="130" y="93"/>
                  </a:lnTo>
                  <a:lnTo>
                    <a:pt x="115" y="116"/>
                  </a:lnTo>
                  <a:lnTo>
                    <a:pt x="92" y="130"/>
                  </a:lnTo>
                  <a:lnTo>
                    <a:pt x="69" y="136"/>
                  </a:lnTo>
                  <a:lnTo>
                    <a:pt x="40" y="130"/>
                  </a:lnTo>
                  <a:lnTo>
                    <a:pt x="20" y="116"/>
                  </a:lnTo>
                  <a:lnTo>
                    <a:pt x="6" y="93"/>
                  </a:lnTo>
                  <a:lnTo>
                    <a:pt x="0" y="70"/>
                  </a:lnTo>
                  <a:lnTo>
                    <a:pt x="3" y="41"/>
                  </a:lnTo>
                  <a:lnTo>
                    <a:pt x="20" y="21"/>
                  </a:lnTo>
                  <a:lnTo>
                    <a:pt x="40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0" name="Freeform 359">
              <a:extLst>
                <a:ext uri="{FF2B5EF4-FFF2-40B4-BE49-F238E27FC236}">
                  <a16:creationId xmlns:a16="http://schemas.microsoft.com/office/drawing/2014/main" id="{2FC5FB44-2333-4898-B355-EE9E2D8EF65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422582" y="6583804"/>
              <a:ext cx="108008" cy="108808"/>
            </a:xfrm>
            <a:custGeom>
              <a:avLst/>
              <a:gdLst>
                <a:gd name="T0" fmla="*/ 66 w 135"/>
                <a:gd name="T1" fmla="*/ 0 h 136"/>
                <a:gd name="T2" fmla="*/ 95 w 135"/>
                <a:gd name="T3" fmla="*/ 6 h 136"/>
                <a:gd name="T4" fmla="*/ 118 w 135"/>
                <a:gd name="T5" fmla="*/ 21 h 136"/>
                <a:gd name="T6" fmla="*/ 132 w 135"/>
                <a:gd name="T7" fmla="*/ 41 h 136"/>
                <a:gd name="T8" fmla="*/ 135 w 135"/>
                <a:gd name="T9" fmla="*/ 67 h 136"/>
                <a:gd name="T10" fmla="*/ 132 w 135"/>
                <a:gd name="T11" fmla="*/ 93 h 136"/>
                <a:gd name="T12" fmla="*/ 118 w 135"/>
                <a:gd name="T13" fmla="*/ 116 h 136"/>
                <a:gd name="T14" fmla="*/ 95 w 135"/>
                <a:gd name="T15" fmla="*/ 130 h 136"/>
                <a:gd name="T16" fmla="*/ 69 w 135"/>
                <a:gd name="T17" fmla="*/ 136 h 136"/>
                <a:gd name="T18" fmla="*/ 43 w 135"/>
                <a:gd name="T19" fmla="*/ 130 h 136"/>
                <a:gd name="T20" fmla="*/ 20 w 135"/>
                <a:gd name="T21" fmla="*/ 116 h 136"/>
                <a:gd name="T22" fmla="*/ 5 w 135"/>
                <a:gd name="T23" fmla="*/ 95 h 136"/>
                <a:gd name="T24" fmla="*/ 0 w 135"/>
                <a:gd name="T25" fmla="*/ 70 h 136"/>
                <a:gd name="T26" fmla="*/ 5 w 135"/>
                <a:gd name="T27" fmla="*/ 44 h 136"/>
                <a:gd name="T28" fmla="*/ 20 w 135"/>
                <a:gd name="T29" fmla="*/ 21 h 136"/>
                <a:gd name="T30" fmla="*/ 43 w 135"/>
                <a:gd name="T31" fmla="*/ 6 h 136"/>
                <a:gd name="T32" fmla="*/ 66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6" y="0"/>
                  </a:moveTo>
                  <a:lnTo>
                    <a:pt x="95" y="6"/>
                  </a:lnTo>
                  <a:lnTo>
                    <a:pt x="118" y="21"/>
                  </a:lnTo>
                  <a:lnTo>
                    <a:pt x="132" y="41"/>
                  </a:lnTo>
                  <a:lnTo>
                    <a:pt x="135" y="67"/>
                  </a:lnTo>
                  <a:lnTo>
                    <a:pt x="132" y="93"/>
                  </a:lnTo>
                  <a:lnTo>
                    <a:pt x="118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6"/>
                  </a:lnTo>
                  <a:lnTo>
                    <a:pt x="5" y="95"/>
                  </a:lnTo>
                  <a:lnTo>
                    <a:pt x="0" y="70"/>
                  </a:lnTo>
                  <a:lnTo>
                    <a:pt x="5" y="44"/>
                  </a:lnTo>
                  <a:lnTo>
                    <a:pt x="20" y="21"/>
                  </a:lnTo>
                  <a:lnTo>
                    <a:pt x="43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1" name="Freeform 360">
              <a:extLst>
                <a:ext uri="{FF2B5EF4-FFF2-40B4-BE49-F238E27FC236}">
                  <a16:creationId xmlns:a16="http://schemas.microsoft.com/office/drawing/2014/main" id="{C2307E3D-22EF-4515-B149-F2D27A963A10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020952" y="6385390"/>
              <a:ext cx="108808" cy="108808"/>
            </a:xfrm>
            <a:custGeom>
              <a:avLst/>
              <a:gdLst>
                <a:gd name="T0" fmla="*/ 69 w 136"/>
                <a:gd name="T1" fmla="*/ 0 h 136"/>
                <a:gd name="T2" fmla="*/ 95 w 136"/>
                <a:gd name="T3" fmla="*/ 6 h 136"/>
                <a:gd name="T4" fmla="*/ 118 w 136"/>
                <a:gd name="T5" fmla="*/ 20 h 136"/>
                <a:gd name="T6" fmla="*/ 133 w 136"/>
                <a:gd name="T7" fmla="*/ 41 h 136"/>
                <a:gd name="T8" fmla="*/ 136 w 136"/>
                <a:gd name="T9" fmla="*/ 66 h 136"/>
                <a:gd name="T10" fmla="*/ 133 w 136"/>
                <a:gd name="T11" fmla="*/ 92 h 136"/>
                <a:gd name="T12" fmla="*/ 118 w 136"/>
                <a:gd name="T13" fmla="*/ 115 h 136"/>
                <a:gd name="T14" fmla="*/ 95 w 136"/>
                <a:gd name="T15" fmla="*/ 130 h 136"/>
                <a:gd name="T16" fmla="*/ 69 w 136"/>
                <a:gd name="T17" fmla="*/ 136 h 136"/>
                <a:gd name="T18" fmla="*/ 43 w 136"/>
                <a:gd name="T19" fmla="*/ 130 h 136"/>
                <a:gd name="T20" fmla="*/ 20 w 136"/>
                <a:gd name="T21" fmla="*/ 115 h 136"/>
                <a:gd name="T22" fmla="*/ 6 w 136"/>
                <a:gd name="T23" fmla="*/ 95 h 136"/>
                <a:gd name="T24" fmla="*/ 0 w 136"/>
                <a:gd name="T25" fmla="*/ 69 h 136"/>
                <a:gd name="T26" fmla="*/ 6 w 136"/>
                <a:gd name="T27" fmla="*/ 43 h 136"/>
                <a:gd name="T28" fmla="*/ 20 w 136"/>
                <a:gd name="T29" fmla="*/ 20 h 136"/>
                <a:gd name="T30" fmla="*/ 43 w 136"/>
                <a:gd name="T31" fmla="*/ 6 h 136"/>
                <a:gd name="T32" fmla="*/ 69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9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3" y="41"/>
                  </a:lnTo>
                  <a:lnTo>
                    <a:pt x="136" y="66"/>
                  </a:lnTo>
                  <a:lnTo>
                    <a:pt x="133" y="92"/>
                  </a:lnTo>
                  <a:lnTo>
                    <a:pt x="118" y="115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2" name="Freeform 361">
              <a:extLst>
                <a:ext uri="{FF2B5EF4-FFF2-40B4-BE49-F238E27FC236}">
                  <a16:creationId xmlns:a16="http://schemas.microsoft.com/office/drawing/2014/main" id="{6644B5A6-1E71-45C1-AA98-58F8464B533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829739" y="6267781"/>
              <a:ext cx="108808" cy="108808"/>
            </a:xfrm>
            <a:custGeom>
              <a:avLst/>
              <a:gdLst>
                <a:gd name="T0" fmla="*/ 67 w 136"/>
                <a:gd name="T1" fmla="*/ 0 h 136"/>
                <a:gd name="T2" fmla="*/ 96 w 136"/>
                <a:gd name="T3" fmla="*/ 6 h 136"/>
                <a:gd name="T4" fmla="*/ 116 w 136"/>
                <a:gd name="T5" fmla="*/ 20 h 136"/>
                <a:gd name="T6" fmla="*/ 133 w 136"/>
                <a:gd name="T7" fmla="*/ 41 h 136"/>
                <a:gd name="T8" fmla="*/ 136 w 136"/>
                <a:gd name="T9" fmla="*/ 66 h 136"/>
                <a:gd name="T10" fmla="*/ 133 w 136"/>
                <a:gd name="T11" fmla="*/ 92 h 136"/>
                <a:gd name="T12" fmla="*/ 119 w 136"/>
                <a:gd name="T13" fmla="*/ 115 h 136"/>
                <a:gd name="T14" fmla="*/ 96 w 136"/>
                <a:gd name="T15" fmla="*/ 130 h 136"/>
                <a:gd name="T16" fmla="*/ 70 w 136"/>
                <a:gd name="T17" fmla="*/ 136 h 136"/>
                <a:gd name="T18" fmla="*/ 44 w 136"/>
                <a:gd name="T19" fmla="*/ 130 h 136"/>
                <a:gd name="T20" fmla="*/ 21 w 136"/>
                <a:gd name="T21" fmla="*/ 115 h 136"/>
                <a:gd name="T22" fmla="*/ 6 w 136"/>
                <a:gd name="T23" fmla="*/ 95 h 136"/>
                <a:gd name="T24" fmla="*/ 0 w 136"/>
                <a:gd name="T25" fmla="*/ 69 h 136"/>
                <a:gd name="T26" fmla="*/ 6 w 136"/>
                <a:gd name="T27" fmla="*/ 43 h 136"/>
                <a:gd name="T28" fmla="*/ 21 w 136"/>
                <a:gd name="T29" fmla="*/ 20 h 136"/>
                <a:gd name="T30" fmla="*/ 44 w 136"/>
                <a:gd name="T31" fmla="*/ 6 h 136"/>
                <a:gd name="T32" fmla="*/ 67 w 136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6">
                  <a:moveTo>
                    <a:pt x="67" y="0"/>
                  </a:moveTo>
                  <a:lnTo>
                    <a:pt x="96" y="6"/>
                  </a:lnTo>
                  <a:lnTo>
                    <a:pt x="116" y="20"/>
                  </a:lnTo>
                  <a:lnTo>
                    <a:pt x="133" y="41"/>
                  </a:lnTo>
                  <a:lnTo>
                    <a:pt x="136" y="66"/>
                  </a:lnTo>
                  <a:lnTo>
                    <a:pt x="133" y="92"/>
                  </a:lnTo>
                  <a:lnTo>
                    <a:pt x="119" y="115"/>
                  </a:lnTo>
                  <a:lnTo>
                    <a:pt x="96" y="130"/>
                  </a:lnTo>
                  <a:lnTo>
                    <a:pt x="70" y="136"/>
                  </a:lnTo>
                  <a:lnTo>
                    <a:pt x="44" y="130"/>
                  </a:lnTo>
                  <a:lnTo>
                    <a:pt x="21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1" y="20"/>
                  </a:lnTo>
                  <a:lnTo>
                    <a:pt x="44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3" name="Freeform 362">
              <a:extLst>
                <a:ext uri="{FF2B5EF4-FFF2-40B4-BE49-F238E27FC236}">
                  <a16:creationId xmlns:a16="http://schemas.microsoft.com/office/drawing/2014/main" id="{16346842-AE2F-4194-8FE4-E8C2B395165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644925" y="6138972"/>
              <a:ext cx="108808" cy="110408"/>
            </a:xfrm>
            <a:custGeom>
              <a:avLst/>
              <a:gdLst>
                <a:gd name="T0" fmla="*/ 66 w 136"/>
                <a:gd name="T1" fmla="*/ 0 h 138"/>
                <a:gd name="T2" fmla="*/ 92 w 136"/>
                <a:gd name="T3" fmla="*/ 5 h 138"/>
                <a:gd name="T4" fmla="*/ 115 w 136"/>
                <a:gd name="T5" fmla="*/ 20 h 138"/>
                <a:gd name="T6" fmla="*/ 130 w 136"/>
                <a:gd name="T7" fmla="*/ 43 h 138"/>
                <a:gd name="T8" fmla="*/ 136 w 136"/>
                <a:gd name="T9" fmla="*/ 69 h 138"/>
                <a:gd name="T10" fmla="*/ 133 w 136"/>
                <a:gd name="T11" fmla="*/ 95 h 138"/>
                <a:gd name="T12" fmla="*/ 115 w 136"/>
                <a:gd name="T13" fmla="*/ 118 h 138"/>
                <a:gd name="T14" fmla="*/ 95 w 136"/>
                <a:gd name="T15" fmla="*/ 132 h 138"/>
                <a:gd name="T16" fmla="*/ 69 w 136"/>
                <a:gd name="T17" fmla="*/ 138 h 138"/>
                <a:gd name="T18" fmla="*/ 43 w 136"/>
                <a:gd name="T19" fmla="*/ 132 h 138"/>
                <a:gd name="T20" fmla="*/ 20 w 136"/>
                <a:gd name="T21" fmla="*/ 118 h 138"/>
                <a:gd name="T22" fmla="*/ 6 w 136"/>
                <a:gd name="T23" fmla="*/ 95 h 138"/>
                <a:gd name="T24" fmla="*/ 0 w 136"/>
                <a:gd name="T25" fmla="*/ 69 h 138"/>
                <a:gd name="T26" fmla="*/ 6 w 136"/>
                <a:gd name="T27" fmla="*/ 43 h 138"/>
                <a:gd name="T28" fmla="*/ 20 w 136"/>
                <a:gd name="T29" fmla="*/ 20 h 138"/>
                <a:gd name="T30" fmla="*/ 40 w 136"/>
                <a:gd name="T31" fmla="*/ 5 h 138"/>
                <a:gd name="T32" fmla="*/ 66 w 136"/>
                <a:gd name="T3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8">
                  <a:moveTo>
                    <a:pt x="66" y="0"/>
                  </a:moveTo>
                  <a:lnTo>
                    <a:pt x="92" y="5"/>
                  </a:lnTo>
                  <a:lnTo>
                    <a:pt x="115" y="20"/>
                  </a:lnTo>
                  <a:lnTo>
                    <a:pt x="130" y="43"/>
                  </a:lnTo>
                  <a:lnTo>
                    <a:pt x="136" y="69"/>
                  </a:lnTo>
                  <a:lnTo>
                    <a:pt x="133" y="95"/>
                  </a:lnTo>
                  <a:lnTo>
                    <a:pt x="115" y="118"/>
                  </a:lnTo>
                  <a:lnTo>
                    <a:pt x="95" y="132"/>
                  </a:lnTo>
                  <a:lnTo>
                    <a:pt x="69" y="138"/>
                  </a:lnTo>
                  <a:lnTo>
                    <a:pt x="43" y="132"/>
                  </a:lnTo>
                  <a:lnTo>
                    <a:pt x="20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0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4" name="Freeform 363">
              <a:extLst>
                <a:ext uri="{FF2B5EF4-FFF2-40B4-BE49-F238E27FC236}">
                  <a16:creationId xmlns:a16="http://schemas.microsoft.com/office/drawing/2014/main" id="{A44D8F22-16FA-4FBF-B4EB-7174ABE49AA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330430" y="1937866"/>
              <a:ext cx="108808" cy="108008"/>
            </a:xfrm>
            <a:custGeom>
              <a:avLst/>
              <a:gdLst>
                <a:gd name="T0" fmla="*/ 67 w 136"/>
                <a:gd name="T1" fmla="*/ 0 h 135"/>
                <a:gd name="T2" fmla="*/ 93 w 136"/>
                <a:gd name="T3" fmla="*/ 6 h 135"/>
                <a:gd name="T4" fmla="*/ 116 w 136"/>
                <a:gd name="T5" fmla="*/ 20 h 135"/>
                <a:gd name="T6" fmla="*/ 130 w 136"/>
                <a:gd name="T7" fmla="*/ 40 h 135"/>
                <a:gd name="T8" fmla="*/ 136 w 136"/>
                <a:gd name="T9" fmla="*/ 66 h 135"/>
                <a:gd name="T10" fmla="*/ 133 w 136"/>
                <a:gd name="T11" fmla="*/ 92 h 135"/>
                <a:gd name="T12" fmla="*/ 116 w 136"/>
                <a:gd name="T13" fmla="*/ 115 h 135"/>
                <a:gd name="T14" fmla="*/ 95 w 136"/>
                <a:gd name="T15" fmla="*/ 130 h 135"/>
                <a:gd name="T16" fmla="*/ 69 w 136"/>
                <a:gd name="T17" fmla="*/ 135 h 135"/>
                <a:gd name="T18" fmla="*/ 44 w 136"/>
                <a:gd name="T19" fmla="*/ 130 h 135"/>
                <a:gd name="T20" fmla="*/ 20 w 136"/>
                <a:gd name="T21" fmla="*/ 115 h 135"/>
                <a:gd name="T22" fmla="*/ 6 w 136"/>
                <a:gd name="T23" fmla="*/ 92 h 135"/>
                <a:gd name="T24" fmla="*/ 0 w 136"/>
                <a:gd name="T25" fmla="*/ 69 h 135"/>
                <a:gd name="T26" fmla="*/ 6 w 136"/>
                <a:gd name="T27" fmla="*/ 40 h 135"/>
                <a:gd name="T28" fmla="*/ 20 w 136"/>
                <a:gd name="T29" fmla="*/ 20 h 135"/>
                <a:gd name="T30" fmla="*/ 41 w 136"/>
                <a:gd name="T31" fmla="*/ 6 h 135"/>
                <a:gd name="T32" fmla="*/ 67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7" y="0"/>
                  </a:moveTo>
                  <a:lnTo>
                    <a:pt x="93" y="6"/>
                  </a:lnTo>
                  <a:lnTo>
                    <a:pt x="116" y="20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3" y="92"/>
                  </a:lnTo>
                  <a:lnTo>
                    <a:pt x="116" y="115"/>
                  </a:lnTo>
                  <a:lnTo>
                    <a:pt x="95" y="130"/>
                  </a:lnTo>
                  <a:lnTo>
                    <a:pt x="69" y="135"/>
                  </a:lnTo>
                  <a:lnTo>
                    <a:pt x="44" y="130"/>
                  </a:lnTo>
                  <a:lnTo>
                    <a:pt x="20" y="115"/>
                  </a:lnTo>
                  <a:lnTo>
                    <a:pt x="6" y="92"/>
                  </a:lnTo>
                  <a:lnTo>
                    <a:pt x="0" y="69"/>
                  </a:lnTo>
                  <a:lnTo>
                    <a:pt x="6" y="40"/>
                  </a:lnTo>
                  <a:lnTo>
                    <a:pt x="20" y="20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5" name="Freeform 364">
              <a:extLst>
                <a:ext uri="{FF2B5EF4-FFF2-40B4-BE49-F238E27FC236}">
                  <a16:creationId xmlns:a16="http://schemas.microsoft.com/office/drawing/2014/main" id="{14C64F8F-5F7B-4164-A26D-29BFA75AACC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243223" y="1661045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5 w 135"/>
                <a:gd name="T3" fmla="*/ 3 h 135"/>
                <a:gd name="T4" fmla="*/ 115 w 135"/>
                <a:gd name="T5" fmla="*/ 20 h 135"/>
                <a:gd name="T6" fmla="*/ 130 w 135"/>
                <a:gd name="T7" fmla="*/ 40 h 135"/>
                <a:gd name="T8" fmla="*/ 135 w 135"/>
                <a:gd name="T9" fmla="*/ 66 h 135"/>
                <a:gd name="T10" fmla="*/ 130 w 135"/>
                <a:gd name="T11" fmla="*/ 95 h 135"/>
                <a:gd name="T12" fmla="*/ 115 w 135"/>
                <a:gd name="T13" fmla="*/ 115 h 135"/>
                <a:gd name="T14" fmla="*/ 95 w 135"/>
                <a:gd name="T15" fmla="*/ 129 h 135"/>
                <a:gd name="T16" fmla="*/ 69 w 135"/>
                <a:gd name="T17" fmla="*/ 135 h 135"/>
                <a:gd name="T18" fmla="*/ 43 w 135"/>
                <a:gd name="T19" fmla="*/ 129 h 135"/>
                <a:gd name="T20" fmla="*/ 20 w 135"/>
                <a:gd name="T21" fmla="*/ 115 h 135"/>
                <a:gd name="T22" fmla="*/ 6 w 135"/>
                <a:gd name="T23" fmla="*/ 95 h 135"/>
                <a:gd name="T24" fmla="*/ 0 w 135"/>
                <a:gd name="T25" fmla="*/ 69 h 135"/>
                <a:gd name="T26" fmla="*/ 6 w 135"/>
                <a:gd name="T27" fmla="*/ 43 h 135"/>
                <a:gd name="T28" fmla="*/ 20 w 135"/>
                <a:gd name="T29" fmla="*/ 20 h 135"/>
                <a:gd name="T30" fmla="*/ 40 w 135"/>
                <a:gd name="T31" fmla="*/ 5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5" y="3"/>
                  </a:lnTo>
                  <a:lnTo>
                    <a:pt x="115" y="20"/>
                  </a:lnTo>
                  <a:lnTo>
                    <a:pt x="130" y="40"/>
                  </a:lnTo>
                  <a:lnTo>
                    <a:pt x="135" y="66"/>
                  </a:lnTo>
                  <a:lnTo>
                    <a:pt x="130" y="95"/>
                  </a:lnTo>
                  <a:lnTo>
                    <a:pt x="115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3" y="129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0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6" name="Freeform 365">
              <a:extLst>
                <a:ext uri="{FF2B5EF4-FFF2-40B4-BE49-F238E27FC236}">
                  <a16:creationId xmlns:a16="http://schemas.microsoft.com/office/drawing/2014/main" id="{9CB74C39-5094-4670-B1DD-C2B2256A3C0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8672054" y="874588"/>
              <a:ext cx="108008" cy="110408"/>
            </a:xfrm>
            <a:custGeom>
              <a:avLst/>
              <a:gdLst>
                <a:gd name="T0" fmla="*/ 66 w 135"/>
                <a:gd name="T1" fmla="*/ 0 h 138"/>
                <a:gd name="T2" fmla="*/ 95 w 135"/>
                <a:gd name="T3" fmla="*/ 5 h 138"/>
                <a:gd name="T4" fmla="*/ 115 w 135"/>
                <a:gd name="T5" fmla="*/ 20 h 138"/>
                <a:gd name="T6" fmla="*/ 129 w 135"/>
                <a:gd name="T7" fmla="*/ 43 h 138"/>
                <a:gd name="T8" fmla="*/ 135 w 135"/>
                <a:gd name="T9" fmla="*/ 66 h 138"/>
                <a:gd name="T10" fmla="*/ 129 w 135"/>
                <a:gd name="T11" fmla="*/ 95 h 138"/>
                <a:gd name="T12" fmla="*/ 115 w 135"/>
                <a:gd name="T13" fmla="*/ 118 h 138"/>
                <a:gd name="T14" fmla="*/ 95 w 135"/>
                <a:gd name="T15" fmla="*/ 132 h 138"/>
                <a:gd name="T16" fmla="*/ 69 w 135"/>
                <a:gd name="T17" fmla="*/ 138 h 138"/>
                <a:gd name="T18" fmla="*/ 43 w 135"/>
                <a:gd name="T19" fmla="*/ 132 h 138"/>
                <a:gd name="T20" fmla="*/ 20 w 135"/>
                <a:gd name="T21" fmla="*/ 118 h 138"/>
                <a:gd name="T22" fmla="*/ 5 w 135"/>
                <a:gd name="T23" fmla="*/ 95 h 138"/>
                <a:gd name="T24" fmla="*/ 0 w 135"/>
                <a:gd name="T25" fmla="*/ 69 h 138"/>
                <a:gd name="T26" fmla="*/ 5 w 135"/>
                <a:gd name="T27" fmla="*/ 43 h 138"/>
                <a:gd name="T28" fmla="*/ 20 w 135"/>
                <a:gd name="T29" fmla="*/ 20 h 138"/>
                <a:gd name="T30" fmla="*/ 43 w 135"/>
                <a:gd name="T31" fmla="*/ 5 h 138"/>
                <a:gd name="T32" fmla="*/ 66 w 135"/>
                <a:gd name="T3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8">
                  <a:moveTo>
                    <a:pt x="66" y="0"/>
                  </a:moveTo>
                  <a:lnTo>
                    <a:pt x="95" y="5"/>
                  </a:lnTo>
                  <a:lnTo>
                    <a:pt x="115" y="20"/>
                  </a:lnTo>
                  <a:lnTo>
                    <a:pt x="129" y="43"/>
                  </a:lnTo>
                  <a:lnTo>
                    <a:pt x="135" y="66"/>
                  </a:lnTo>
                  <a:lnTo>
                    <a:pt x="129" y="95"/>
                  </a:lnTo>
                  <a:lnTo>
                    <a:pt x="115" y="118"/>
                  </a:lnTo>
                  <a:lnTo>
                    <a:pt x="95" y="132"/>
                  </a:lnTo>
                  <a:lnTo>
                    <a:pt x="69" y="138"/>
                  </a:lnTo>
                  <a:lnTo>
                    <a:pt x="43" y="132"/>
                  </a:lnTo>
                  <a:lnTo>
                    <a:pt x="20" y="118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3"/>
                  </a:lnTo>
                  <a:lnTo>
                    <a:pt x="20" y="20"/>
                  </a:lnTo>
                  <a:lnTo>
                    <a:pt x="43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7" name="Freeform 366">
              <a:extLst>
                <a:ext uri="{FF2B5EF4-FFF2-40B4-BE49-F238E27FC236}">
                  <a16:creationId xmlns:a16="http://schemas.microsoft.com/office/drawing/2014/main" id="{8902359D-0AFF-40EE-82AA-16092508BEA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603468" y="7047038"/>
              <a:ext cx="108008" cy="108808"/>
            </a:xfrm>
            <a:custGeom>
              <a:avLst/>
              <a:gdLst>
                <a:gd name="T0" fmla="*/ 66 w 135"/>
                <a:gd name="T1" fmla="*/ 0 h 136"/>
                <a:gd name="T2" fmla="*/ 95 w 135"/>
                <a:gd name="T3" fmla="*/ 3 h 136"/>
                <a:gd name="T4" fmla="*/ 115 w 135"/>
                <a:gd name="T5" fmla="*/ 17 h 136"/>
                <a:gd name="T6" fmla="*/ 129 w 135"/>
                <a:gd name="T7" fmla="*/ 40 h 136"/>
                <a:gd name="T8" fmla="*/ 135 w 135"/>
                <a:gd name="T9" fmla="*/ 66 h 136"/>
                <a:gd name="T10" fmla="*/ 132 w 135"/>
                <a:gd name="T11" fmla="*/ 92 h 136"/>
                <a:gd name="T12" fmla="*/ 115 w 135"/>
                <a:gd name="T13" fmla="*/ 115 h 136"/>
                <a:gd name="T14" fmla="*/ 95 w 135"/>
                <a:gd name="T15" fmla="*/ 130 h 136"/>
                <a:gd name="T16" fmla="*/ 69 w 135"/>
                <a:gd name="T17" fmla="*/ 136 h 136"/>
                <a:gd name="T18" fmla="*/ 43 w 135"/>
                <a:gd name="T19" fmla="*/ 130 h 136"/>
                <a:gd name="T20" fmla="*/ 20 w 135"/>
                <a:gd name="T21" fmla="*/ 115 h 136"/>
                <a:gd name="T22" fmla="*/ 5 w 135"/>
                <a:gd name="T23" fmla="*/ 92 h 136"/>
                <a:gd name="T24" fmla="*/ 0 w 135"/>
                <a:gd name="T25" fmla="*/ 69 h 136"/>
                <a:gd name="T26" fmla="*/ 5 w 135"/>
                <a:gd name="T27" fmla="*/ 40 h 136"/>
                <a:gd name="T28" fmla="*/ 20 w 135"/>
                <a:gd name="T29" fmla="*/ 17 h 136"/>
                <a:gd name="T30" fmla="*/ 43 w 135"/>
                <a:gd name="T31" fmla="*/ 3 h 136"/>
                <a:gd name="T32" fmla="*/ 66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6" y="0"/>
                  </a:moveTo>
                  <a:lnTo>
                    <a:pt x="95" y="3"/>
                  </a:lnTo>
                  <a:lnTo>
                    <a:pt x="115" y="17"/>
                  </a:lnTo>
                  <a:lnTo>
                    <a:pt x="129" y="40"/>
                  </a:lnTo>
                  <a:lnTo>
                    <a:pt x="135" y="66"/>
                  </a:lnTo>
                  <a:lnTo>
                    <a:pt x="132" y="92"/>
                  </a:lnTo>
                  <a:lnTo>
                    <a:pt x="115" y="115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5"/>
                  </a:lnTo>
                  <a:lnTo>
                    <a:pt x="5" y="92"/>
                  </a:lnTo>
                  <a:lnTo>
                    <a:pt x="0" y="69"/>
                  </a:lnTo>
                  <a:lnTo>
                    <a:pt x="5" y="40"/>
                  </a:lnTo>
                  <a:lnTo>
                    <a:pt x="20" y="17"/>
                  </a:lnTo>
                  <a:lnTo>
                    <a:pt x="43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8" name="Freeform 367">
              <a:extLst>
                <a:ext uri="{FF2B5EF4-FFF2-40B4-BE49-F238E27FC236}">
                  <a16:creationId xmlns:a16="http://schemas.microsoft.com/office/drawing/2014/main" id="{5D307183-0E57-48C4-954C-E8CB4AF2D2D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722603" y="6883826"/>
              <a:ext cx="108008" cy="108008"/>
            </a:xfrm>
            <a:custGeom>
              <a:avLst/>
              <a:gdLst>
                <a:gd name="T0" fmla="*/ 66 w 135"/>
                <a:gd name="T1" fmla="*/ 0 h 135"/>
                <a:gd name="T2" fmla="*/ 92 w 135"/>
                <a:gd name="T3" fmla="*/ 5 h 135"/>
                <a:gd name="T4" fmla="*/ 115 w 135"/>
                <a:gd name="T5" fmla="*/ 20 h 135"/>
                <a:gd name="T6" fmla="*/ 130 w 135"/>
                <a:gd name="T7" fmla="*/ 40 h 135"/>
                <a:gd name="T8" fmla="*/ 135 w 135"/>
                <a:gd name="T9" fmla="*/ 66 h 135"/>
                <a:gd name="T10" fmla="*/ 130 w 135"/>
                <a:gd name="T11" fmla="*/ 92 h 135"/>
                <a:gd name="T12" fmla="*/ 115 w 135"/>
                <a:gd name="T13" fmla="*/ 115 h 135"/>
                <a:gd name="T14" fmla="*/ 92 w 135"/>
                <a:gd name="T15" fmla="*/ 129 h 135"/>
                <a:gd name="T16" fmla="*/ 66 w 135"/>
                <a:gd name="T17" fmla="*/ 135 h 135"/>
                <a:gd name="T18" fmla="*/ 40 w 135"/>
                <a:gd name="T19" fmla="*/ 129 h 135"/>
                <a:gd name="T20" fmla="*/ 17 w 135"/>
                <a:gd name="T21" fmla="*/ 115 h 135"/>
                <a:gd name="T22" fmla="*/ 3 w 135"/>
                <a:gd name="T23" fmla="*/ 95 h 135"/>
                <a:gd name="T24" fmla="*/ 0 w 135"/>
                <a:gd name="T25" fmla="*/ 69 h 135"/>
                <a:gd name="T26" fmla="*/ 3 w 135"/>
                <a:gd name="T27" fmla="*/ 43 h 135"/>
                <a:gd name="T28" fmla="*/ 17 w 135"/>
                <a:gd name="T29" fmla="*/ 20 h 135"/>
                <a:gd name="T30" fmla="*/ 40 w 135"/>
                <a:gd name="T31" fmla="*/ 5 h 135"/>
                <a:gd name="T32" fmla="*/ 66 w 135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5">
                  <a:moveTo>
                    <a:pt x="66" y="0"/>
                  </a:moveTo>
                  <a:lnTo>
                    <a:pt x="92" y="5"/>
                  </a:lnTo>
                  <a:lnTo>
                    <a:pt x="115" y="20"/>
                  </a:lnTo>
                  <a:lnTo>
                    <a:pt x="130" y="40"/>
                  </a:lnTo>
                  <a:lnTo>
                    <a:pt x="135" y="66"/>
                  </a:lnTo>
                  <a:lnTo>
                    <a:pt x="130" y="92"/>
                  </a:lnTo>
                  <a:lnTo>
                    <a:pt x="115" y="115"/>
                  </a:lnTo>
                  <a:lnTo>
                    <a:pt x="92" y="129"/>
                  </a:lnTo>
                  <a:lnTo>
                    <a:pt x="66" y="135"/>
                  </a:lnTo>
                  <a:lnTo>
                    <a:pt x="40" y="129"/>
                  </a:lnTo>
                  <a:lnTo>
                    <a:pt x="17" y="115"/>
                  </a:lnTo>
                  <a:lnTo>
                    <a:pt x="3" y="95"/>
                  </a:lnTo>
                  <a:lnTo>
                    <a:pt x="0" y="69"/>
                  </a:lnTo>
                  <a:lnTo>
                    <a:pt x="3" y="43"/>
                  </a:lnTo>
                  <a:lnTo>
                    <a:pt x="17" y="20"/>
                  </a:lnTo>
                  <a:lnTo>
                    <a:pt x="40" y="5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9" name="Freeform 368">
              <a:extLst>
                <a:ext uri="{FF2B5EF4-FFF2-40B4-BE49-F238E27FC236}">
                  <a16:creationId xmlns:a16="http://schemas.microsoft.com/office/drawing/2014/main" id="{D564F498-EAD0-47CE-B816-7CBBC1F4342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509788" y="6810221"/>
              <a:ext cx="111208" cy="110408"/>
            </a:xfrm>
            <a:custGeom>
              <a:avLst/>
              <a:gdLst>
                <a:gd name="T0" fmla="*/ 69 w 139"/>
                <a:gd name="T1" fmla="*/ 0 h 138"/>
                <a:gd name="T2" fmla="*/ 95 w 139"/>
                <a:gd name="T3" fmla="*/ 6 h 138"/>
                <a:gd name="T4" fmla="*/ 118 w 139"/>
                <a:gd name="T5" fmla="*/ 20 h 138"/>
                <a:gd name="T6" fmla="*/ 133 w 139"/>
                <a:gd name="T7" fmla="*/ 43 h 138"/>
                <a:gd name="T8" fmla="*/ 139 w 139"/>
                <a:gd name="T9" fmla="*/ 66 h 138"/>
                <a:gd name="T10" fmla="*/ 133 w 139"/>
                <a:gd name="T11" fmla="*/ 95 h 138"/>
                <a:gd name="T12" fmla="*/ 118 w 139"/>
                <a:gd name="T13" fmla="*/ 115 h 138"/>
                <a:gd name="T14" fmla="*/ 95 w 139"/>
                <a:gd name="T15" fmla="*/ 133 h 138"/>
                <a:gd name="T16" fmla="*/ 72 w 139"/>
                <a:gd name="T17" fmla="*/ 138 h 138"/>
                <a:gd name="T18" fmla="*/ 43 w 139"/>
                <a:gd name="T19" fmla="*/ 133 h 138"/>
                <a:gd name="T20" fmla="*/ 20 w 139"/>
                <a:gd name="T21" fmla="*/ 118 h 138"/>
                <a:gd name="T22" fmla="*/ 6 w 139"/>
                <a:gd name="T23" fmla="*/ 95 h 138"/>
                <a:gd name="T24" fmla="*/ 0 w 139"/>
                <a:gd name="T25" fmla="*/ 69 h 138"/>
                <a:gd name="T26" fmla="*/ 6 w 139"/>
                <a:gd name="T27" fmla="*/ 43 h 138"/>
                <a:gd name="T28" fmla="*/ 20 w 139"/>
                <a:gd name="T29" fmla="*/ 20 h 138"/>
                <a:gd name="T30" fmla="*/ 43 w 139"/>
                <a:gd name="T31" fmla="*/ 6 h 138"/>
                <a:gd name="T32" fmla="*/ 69 w 139"/>
                <a:gd name="T3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8">
                  <a:moveTo>
                    <a:pt x="69" y="0"/>
                  </a:moveTo>
                  <a:lnTo>
                    <a:pt x="95" y="6"/>
                  </a:lnTo>
                  <a:lnTo>
                    <a:pt x="118" y="20"/>
                  </a:lnTo>
                  <a:lnTo>
                    <a:pt x="133" y="43"/>
                  </a:lnTo>
                  <a:lnTo>
                    <a:pt x="139" y="66"/>
                  </a:lnTo>
                  <a:lnTo>
                    <a:pt x="133" y="95"/>
                  </a:lnTo>
                  <a:lnTo>
                    <a:pt x="118" y="115"/>
                  </a:lnTo>
                  <a:lnTo>
                    <a:pt x="95" y="133"/>
                  </a:lnTo>
                  <a:lnTo>
                    <a:pt x="72" y="138"/>
                  </a:lnTo>
                  <a:lnTo>
                    <a:pt x="43" y="133"/>
                  </a:lnTo>
                  <a:lnTo>
                    <a:pt x="20" y="118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6" y="43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60" name="Freeform 369">
              <a:extLst>
                <a:ext uri="{FF2B5EF4-FFF2-40B4-BE49-F238E27FC236}">
                  <a16:creationId xmlns:a16="http://schemas.microsoft.com/office/drawing/2014/main" id="{D288112B-173A-41C6-8B02-61E861427730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0302573" y="6727015"/>
              <a:ext cx="108808" cy="108008"/>
            </a:xfrm>
            <a:custGeom>
              <a:avLst/>
              <a:gdLst>
                <a:gd name="T0" fmla="*/ 67 w 136"/>
                <a:gd name="T1" fmla="*/ 0 h 135"/>
                <a:gd name="T2" fmla="*/ 93 w 136"/>
                <a:gd name="T3" fmla="*/ 5 h 135"/>
                <a:gd name="T4" fmla="*/ 116 w 136"/>
                <a:gd name="T5" fmla="*/ 20 h 135"/>
                <a:gd name="T6" fmla="*/ 130 w 136"/>
                <a:gd name="T7" fmla="*/ 40 h 135"/>
                <a:gd name="T8" fmla="*/ 136 w 136"/>
                <a:gd name="T9" fmla="*/ 66 h 135"/>
                <a:gd name="T10" fmla="*/ 130 w 136"/>
                <a:gd name="T11" fmla="*/ 92 h 135"/>
                <a:gd name="T12" fmla="*/ 116 w 136"/>
                <a:gd name="T13" fmla="*/ 115 h 135"/>
                <a:gd name="T14" fmla="*/ 93 w 136"/>
                <a:gd name="T15" fmla="*/ 129 h 135"/>
                <a:gd name="T16" fmla="*/ 70 w 136"/>
                <a:gd name="T17" fmla="*/ 135 h 135"/>
                <a:gd name="T18" fmla="*/ 41 w 136"/>
                <a:gd name="T19" fmla="*/ 129 h 135"/>
                <a:gd name="T20" fmla="*/ 21 w 136"/>
                <a:gd name="T21" fmla="*/ 115 h 135"/>
                <a:gd name="T22" fmla="*/ 3 w 136"/>
                <a:gd name="T23" fmla="*/ 95 h 135"/>
                <a:gd name="T24" fmla="*/ 0 w 136"/>
                <a:gd name="T25" fmla="*/ 69 h 135"/>
                <a:gd name="T26" fmla="*/ 3 w 136"/>
                <a:gd name="T27" fmla="*/ 43 h 135"/>
                <a:gd name="T28" fmla="*/ 21 w 136"/>
                <a:gd name="T29" fmla="*/ 20 h 135"/>
                <a:gd name="T30" fmla="*/ 41 w 136"/>
                <a:gd name="T31" fmla="*/ 5 h 135"/>
                <a:gd name="T32" fmla="*/ 67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7" y="0"/>
                  </a:moveTo>
                  <a:lnTo>
                    <a:pt x="93" y="5"/>
                  </a:lnTo>
                  <a:lnTo>
                    <a:pt x="116" y="20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0" y="92"/>
                  </a:lnTo>
                  <a:lnTo>
                    <a:pt x="116" y="115"/>
                  </a:lnTo>
                  <a:lnTo>
                    <a:pt x="93" y="129"/>
                  </a:lnTo>
                  <a:lnTo>
                    <a:pt x="70" y="135"/>
                  </a:lnTo>
                  <a:lnTo>
                    <a:pt x="41" y="129"/>
                  </a:lnTo>
                  <a:lnTo>
                    <a:pt x="21" y="115"/>
                  </a:lnTo>
                  <a:lnTo>
                    <a:pt x="3" y="95"/>
                  </a:lnTo>
                  <a:lnTo>
                    <a:pt x="0" y="69"/>
                  </a:lnTo>
                  <a:lnTo>
                    <a:pt x="3" y="43"/>
                  </a:lnTo>
                  <a:lnTo>
                    <a:pt x="21" y="20"/>
                  </a:lnTo>
                  <a:lnTo>
                    <a:pt x="41" y="5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61" name="Freeform 370">
              <a:extLst>
                <a:ext uri="{FF2B5EF4-FFF2-40B4-BE49-F238E27FC236}">
                  <a16:creationId xmlns:a16="http://schemas.microsoft.com/office/drawing/2014/main" id="{4C4E8B7D-60B5-4E2B-A49E-0CFBC8D9B25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714530" y="6406191"/>
              <a:ext cx="108008" cy="108808"/>
            </a:xfrm>
            <a:custGeom>
              <a:avLst/>
              <a:gdLst>
                <a:gd name="T0" fmla="*/ 69 w 135"/>
                <a:gd name="T1" fmla="*/ 0 h 136"/>
                <a:gd name="T2" fmla="*/ 95 w 135"/>
                <a:gd name="T3" fmla="*/ 6 h 136"/>
                <a:gd name="T4" fmla="*/ 115 w 135"/>
                <a:gd name="T5" fmla="*/ 20 h 136"/>
                <a:gd name="T6" fmla="*/ 132 w 135"/>
                <a:gd name="T7" fmla="*/ 41 h 136"/>
                <a:gd name="T8" fmla="*/ 135 w 135"/>
                <a:gd name="T9" fmla="*/ 67 h 136"/>
                <a:gd name="T10" fmla="*/ 132 w 135"/>
                <a:gd name="T11" fmla="*/ 95 h 136"/>
                <a:gd name="T12" fmla="*/ 118 w 135"/>
                <a:gd name="T13" fmla="*/ 116 h 136"/>
                <a:gd name="T14" fmla="*/ 95 w 135"/>
                <a:gd name="T15" fmla="*/ 130 h 136"/>
                <a:gd name="T16" fmla="*/ 69 w 135"/>
                <a:gd name="T17" fmla="*/ 136 h 136"/>
                <a:gd name="T18" fmla="*/ 43 w 135"/>
                <a:gd name="T19" fmla="*/ 133 h 136"/>
                <a:gd name="T20" fmla="*/ 20 w 135"/>
                <a:gd name="T21" fmla="*/ 116 h 136"/>
                <a:gd name="T22" fmla="*/ 5 w 135"/>
                <a:gd name="T23" fmla="*/ 95 h 136"/>
                <a:gd name="T24" fmla="*/ 0 w 135"/>
                <a:gd name="T25" fmla="*/ 69 h 136"/>
                <a:gd name="T26" fmla="*/ 5 w 135"/>
                <a:gd name="T27" fmla="*/ 44 h 136"/>
                <a:gd name="T28" fmla="*/ 20 w 135"/>
                <a:gd name="T29" fmla="*/ 20 h 136"/>
                <a:gd name="T30" fmla="*/ 43 w 135"/>
                <a:gd name="T31" fmla="*/ 6 h 136"/>
                <a:gd name="T32" fmla="*/ 69 w 135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36">
                  <a:moveTo>
                    <a:pt x="69" y="0"/>
                  </a:moveTo>
                  <a:lnTo>
                    <a:pt x="95" y="6"/>
                  </a:lnTo>
                  <a:lnTo>
                    <a:pt x="115" y="20"/>
                  </a:lnTo>
                  <a:lnTo>
                    <a:pt x="132" y="41"/>
                  </a:lnTo>
                  <a:lnTo>
                    <a:pt x="135" y="67"/>
                  </a:lnTo>
                  <a:lnTo>
                    <a:pt x="132" y="95"/>
                  </a:lnTo>
                  <a:lnTo>
                    <a:pt x="118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3"/>
                  </a:lnTo>
                  <a:lnTo>
                    <a:pt x="20" y="116"/>
                  </a:lnTo>
                  <a:lnTo>
                    <a:pt x="5" y="95"/>
                  </a:lnTo>
                  <a:lnTo>
                    <a:pt x="0" y="69"/>
                  </a:lnTo>
                  <a:lnTo>
                    <a:pt x="5" y="44"/>
                  </a:lnTo>
                  <a:lnTo>
                    <a:pt x="20" y="20"/>
                  </a:lnTo>
                  <a:lnTo>
                    <a:pt x="43" y="6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62" name="Freeform 371">
              <a:extLst>
                <a:ext uri="{FF2B5EF4-FFF2-40B4-BE49-F238E27FC236}">
                  <a16:creationId xmlns:a16="http://schemas.microsoft.com/office/drawing/2014/main" id="{E3A166AC-67F6-4BDB-8890-3F922F92C06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529717" y="6277382"/>
              <a:ext cx="108808" cy="108008"/>
            </a:xfrm>
            <a:custGeom>
              <a:avLst/>
              <a:gdLst>
                <a:gd name="T0" fmla="*/ 67 w 136"/>
                <a:gd name="T1" fmla="*/ 0 h 135"/>
                <a:gd name="T2" fmla="*/ 92 w 136"/>
                <a:gd name="T3" fmla="*/ 5 h 135"/>
                <a:gd name="T4" fmla="*/ 116 w 136"/>
                <a:gd name="T5" fmla="*/ 20 h 135"/>
                <a:gd name="T6" fmla="*/ 130 w 136"/>
                <a:gd name="T7" fmla="*/ 40 h 135"/>
                <a:gd name="T8" fmla="*/ 136 w 136"/>
                <a:gd name="T9" fmla="*/ 66 h 135"/>
                <a:gd name="T10" fmla="*/ 130 w 136"/>
                <a:gd name="T11" fmla="*/ 95 h 135"/>
                <a:gd name="T12" fmla="*/ 116 w 136"/>
                <a:gd name="T13" fmla="*/ 115 h 135"/>
                <a:gd name="T14" fmla="*/ 95 w 136"/>
                <a:gd name="T15" fmla="*/ 129 h 135"/>
                <a:gd name="T16" fmla="*/ 69 w 136"/>
                <a:gd name="T17" fmla="*/ 135 h 135"/>
                <a:gd name="T18" fmla="*/ 41 w 136"/>
                <a:gd name="T19" fmla="*/ 129 h 135"/>
                <a:gd name="T20" fmla="*/ 20 w 136"/>
                <a:gd name="T21" fmla="*/ 115 h 135"/>
                <a:gd name="T22" fmla="*/ 6 w 136"/>
                <a:gd name="T23" fmla="*/ 95 h 135"/>
                <a:gd name="T24" fmla="*/ 0 w 136"/>
                <a:gd name="T25" fmla="*/ 69 h 135"/>
                <a:gd name="T26" fmla="*/ 3 w 136"/>
                <a:gd name="T27" fmla="*/ 43 h 135"/>
                <a:gd name="T28" fmla="*/ 20 w 136"/>
                <a:gd name="T29" fmla="*/ 20 h 135"/>
                <a:gd name="T30" fmla="*/ 41 w 136"/>
                <a:gd name="T31" fmla="*/ 5 h 135"/>
                <a:gd name="T32" fmla="*/ 67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7" y="0"/>
                  </a:moveTo>
                  <a:lnTo>
                    <a:pt x="92" y="5"/>
                  </a:lnTo>
                  <a:lnTo>
                    <a:pt x="116" y="20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0" y="95"/>
                  </a:lnTo>
                  <a:lnTo>
                    <a:pt x="116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1" y="129"/>
                  </a:lnTo>
                  <a:lnTo>
                    <a:pt x="20" y="115"/>
                  </a:lnTo>
                  <a:lnTo>
                    <a:pt x="6" y="95"/>
                  </a:lnTo>
                  <a:lnTo>
                    <a:pt x="0" y="69"/>
                  </a:lnTo>
                  <a:lnTo>
                    <a:pt x="3" y="43"/>
                  </a:lnTo>
                  <a:lnTo>
                    <a:pt x="20" y="20"/>
                  </a:lnTo>
                  <a:lnTo>
                    <a:pt x="41" y="5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63" name="Freeform 372">
              <a:extLst>
                <a:ext uri="{FF2B5EF4-FFF2-40B4-BE49-F238E27FC236}">
                  <a16:creationId xmlns:a16="http://schemas.microsoft.com/office/drawing/2014/main" id="{74217A0B-BC17-4A44-8626-5C7B91875E5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1478659" y="7215850"/>
              <a:ext cx="108808" cy="108008"/>
            </a:xfrm>
            <a:custGeom>
              <a:avLst/>
              <a:gdLst>
                <a:gd name="T0" fmla="*/ 67 w 136"/>
                <a:gd name="T1" fmla="*/ 0 h 135"/>
                <a:gd name="T2" fmla="*/ 93 w 136"/>
                <a:gd name="T3" fmla="*/ 3 h 135"/>
                <a:gd name="T4" fmla="*/ 116 w 136"/>
                <a:gd name="T5" fmla="*/ 17 h 135"/>
                <a:gd name="T6" fmla="*/ 130 w 136"/>
                <a:gd name="T7" fmla="*/ 40 h 135"/>
                <a:gd name="T8" fmla="*/ 136 w 136"/>
                <a:gd name="T9" fmla="*/ 66 h 135"/>
                <a:gd name="T10" fmla="*/ 133 w 136"/>
                <a:gd name="T11" fmla="*/ 92 h 135"/>
                <a:gd name="T12" fmla="*/ 116 w 136"/>
                <a:gd name="T13" fmla="*/ 115 h 135"/>
                <a:gd name="T14" fmla="*/ 95 w 136"/>
                <a:gd name="T15" fmla="*/ 129 h 135"/>
                <a:gd name="T16" fmla="*/ 69 w 136"/>
                <a:gd name="T17" fmla="*/ 135 h 135"/>
                <a:gd name="T18" fmla="*/ 44 w 136"/>
                <a:gd name="T19" fmla="*/ 129 h 135"/>
                <a:gd name="T20" fmla="*/ 20 w 136"/>
                <a:gd name="T21" fmla="*/ 115 h 135"/>
                <a:gd name="T22" fmla="*/ 6 w 136"/>
                <a:gd name="T23" fmla="*/ 92 h 135"/>
                <a:gd name="T24" fmla="*/ 0 w 136"/>
                <a:gd name="T25" fmla="*/ 66 h 135"/>
                <a:gd name="T26" fmla="*/ 6 w 136"/>
                <a:gd name="T27" fmla="*/ 40 h 135"/>
                <a:gd name="T28" fmla="*/ 20 w 136"/>
                <a:gd name="T29" fmla="*/ 17 h 135"/>
                <a:gd name="T30" fmla="*/ 41 w 136"/>
                <a:gd name="T31" fmla="*/ 3 h 135"/>
                <a:gd name="T32" fmla="*/ 67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7" y="0"/>
                  </a:moveTo>
                  <a:lnTo>
                    <a:pt x="93" y="3"/>
                  </a:lnTo>
                  <a:lnTo>
                    <a:pt x="116" y="17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3" y="92"/>
                  </a:lnTo>
                  <a:lnTo>
                    <a:pt x="116" y="115"/>
                  </a:lnTo>
                  <a:lnTo>
                    <a:pt x="95" y="129"/>
                  </a:lnTo>
                  <a:lnTo>
                    <a:pt x="69" y="135"/>
                  </a:lnTo>
                  <a:lnTo>
                    <a:pt x="44" y="129"/>
                  </a:lnTo>
                  <a:lnTo>
                    <a:pt x="20" y="115"/>
                  </a:lnTo>
                  <a:lnTo>
                    <a:pt x="6" y="92"/>
                  </a:lnTo>
                  <a:lnTo>
                    <a:pt x="0" y="66"/>
                  </a:lnTo>
                  <a:lnTo>
                    <a:pt x="6" y="40"/>
                  </a:lnTo>
                  <a:lnTo>
                    <a:pt x="20" y="17"/>
                  </a:lnTo>
                  <a:lnTo>
                    <a:pt x="41" y="3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64" name="Freeform 373">
              <a:extLst>
                <a:ext uri="{FF2B5EF4-FFF2-40B4-BE49-F238E27FC236}">
                  <a16:creationId xmlns:a16="http://schemas.microsoft.com/office/drawing/2014/main" id="{5138520D-4C61-4502-BA5D-73BAFA9B2DF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596922" y="6542201"/>
              <a:ext cx="110408" cy="108808"/>
            </a:xfrm>
            <a:custGeom>
              <a:avLst/>
              <a:gdLst>
                <a:gd name="T0" fmla="*/ 69 w 138"/>
                <a:gd name="T1" fmla="*/ 0 h 136"/>
                <a:gd name="T2" fmla="*/ 95 w 138"/>
                <a:gd name="T3" fmla="*/ 3 h 136"/>
                <a:gd name="T4" fmla="*/ 118 w 138"/>
                <a:gd name="T5" fmla="*/ 18 h 136"/>
                <a:gd name="T6" fmla="*/ 132 w 138"/>
                <a:gd name="T7" fmla="*/ 41 h 136"/>
                <a:gd name="T8" fmla="*/ 138 w 138"/>
                <a:gd name="T9" fmla="*/ 67 h 136"/>
                <a:gd name="T10" fmla="*/ 132 w 138"/>
                <a:gd name="T11" fmla="*/ 92 h 136"/>
                <a:gd name="T12" fmla="*/ 118 w 138"/>
                <a:gd name="T13" fmla="*/ 116 h 136"/>
                <a:gd name="T14" fmla="*/ 95 w 138"/>
                <a:gd name="T15" fmla="*/ 130 h 136"/>
                <a:gd name="T16" fmla="*/ 69 w 138"/>
                <a:gd name="T17" fmla="*/ 136 h 136"/>
                <a:gd name="T18" fmla="*/ 43 w 138"/>
                <a:gd name="T19" fmla="*/ 130 h 136"/>
                <a:gd name="T20" fmla="*/ 20 w 138"/>
                <a:gd name="T21" fmla="*/ 116 h 136"/>
                <a:gd name="T22" fmla="*/ 6 w 138"/>
                <a:gd name="T23" fmla="*/ 92 h 136"/>
                <a:gd name="T24" fmla="*/ 0 w 138"/>
                <a:gd name="T25" fmla="*/ 67 h 136"/>
                <a:gd name="T26" fmla="*/ 6 w 138"/>
                <a:gd name="T27" fmla="*/ 41 h 136"/>
                <a:gd name="T28" fmla="*/ 20 w 138"/>
                <a:gd name="T29" fmla="*/ 20 h 136"/>
                <a:gd name="T30" fmla="*/ 43 w 138"/>
                <a:gd name="T31" fmla="*/ 3 h 136"/>
                <a:gd name="T32" fmla="*/ 69 w 138"/>
                <a:gd name="T3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136">
                  <a:moveTo>
                    <a:pt x="69" y="0"/>
                  </a:moveTo>
                  <a:lnTo>
                    <a:pt x="95" y="3"/>
                  </a:lnTo>
                  <a:lnTo>
                    <a:pt x="118" y="18"/>
                  </a:lnTo>
                  <a:lnTo>
                    <a:pt x="132" y="41"/>
                  </a:lnTo>
                  <a:lnTo>
                    <a:pt x="138" y="67"/>
                  </a:lnTo>
                  <a:lnTo>
                    <a:pt x="132" y="92"/>
                  </a:lnTo>
                  <a:lnTo>
                    <a:pt x="118" y="116"/>
                  </a:lnTo>
                  <a:lnTo>
                    <a:pt x="95" y="130"/>
                  </a:lnTo>
                  <a:lnTo>
                    <a:pt x="69" y="136"/>
                  </a:lnTo>
                  <a:lnTo>
                    <a:pt x="43" y="130"/>
                  </a:lnTo>
                  <a:lnTo>
                    <a:pt x="20" y="116"/>
                  </a:lnTo>
                  <a:lnTo>
                    <a:pt x="6" y="92"/>
                  </a:lnTo>
                  <a:lnTo>
                    <a:pt x="0" y="67"/>
                  </a:lnTo>
                  <a:lnTo>
                    <a:pt x="6" y="41"/>
                  </a:lnTo>
                  <a:lnTo>
                    <a:pt x="20" y="20"/>
                  </a:lnTo>
                  <a:lnTo>
                    <a:pt x="43" y="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65" name="Freeform 374">
              <a:extLst>
                <a:ext uri="{FF2B5EF4-FFF2-40B4-BE49-F238E27FC236}">
                  <a16:creationId xmlns:a16="http://schemas.microsoft.com/office/drawing/2014/main" id="{A86A4BD3-6A79-4621-A355-D790BE9BEBE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9414508" y="6413392"/>
              <a:ext cx="108808" cy="108008"/>
            </a:xfrm>
            <a:custGeom>
              <a:avLst/>
              <a:gdLst>
                <a:gd name="T0" fmla="*/ 67 w 136"/>
                <a:gd name="T1" fmla="*/ 0 h 135"/>
                <a:gd name="T2" fmla="*/ 93 w 136"/>
                <a:gd name="T3" fmla="*/ 5 h 135"/>
                <a:gd name="T4" fmla="*/ 116 w 136"/>
                <a:gd name="T5" fmla="*/ 20 h 135"/>
                <a:gd name="T6" fmla="*/ 130 w 136"/>
                <a:gd name="T7" fmla="*/ 40 h 135"/>
                <a:gd name="T8" fmla="*/ 136 w 136"/>
                <a:gd name="T9" fmla="*/ 66 h 135"/>
                <a:gd name="T10" fmla="*/ 130 w 136"/>
                <a:gd name="T11" fmla="*/ 92 h 135"/>
                <a:gd name="T12" fmla="*/ 116 w 136"/>
                <a:gd name="T13" fmla="*/ 115 h 135"/>
                <a:gd name="T14" fmla="*/ 93 w 136"/>
                <a:gd name="T15" fmla="*/ 129 h 135"/>
                <a:gd name="T16" fmla="*/ 70 w 136"/>
                <a:gd name="T17" fmla="*/ 135 h 135"/>
                <a:gd name="T18" fmla="*/ 44 w 136"/>
                <a:gd name="T19" fmla="*/ 129 h 135"/>
                <a:gd name="T20" fmla="*/ 21 w 136"/>
                <a:gd name="T21" fmla="*/ 115 h 135"/>
                <a:gd name="T22" fmla="*/ 3 w 136"/>
                <a:gd name="T23" fmla="*/ 95 h 135"/>
                <a:gd name="T24" fmla="*/ 0 w 136"/>
                <a:gd name="T25" fmla="*/ 69 h 135"/>
                <a:gd name="T26" fmla="*/ 3 w 136"/>
                <a:gd name="T27" fmla="*/ 43 h 135"/>
                <a:gd name="T28" fmla="*/ 21 w 136"/>
                <a:gd name="T29" fmla="*/ 20 h 135"/>
                <a:gd name="T30" fmla="*/ 41 w 136"/>
                <a:gd name="T31" fmla="*/ 5 h 135"/>
                <a:gd name="T32" fmla="*/ 67 w 136"/>
                <a:gd name="T3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35">
                  <a:moveTo>
                    <a:pt x="67" y="0"/>
                  </a:moveTo>
                  <a:lnTo>
                    <a:pt x="93" y="5"/>
                  </a:lnTo>
                  <a:lnTo>
                    <a:pt x="116" y="20"/>
                  </a:lnTo>
                  <a:lnTo>
                    <a:pt x="130" y="40"/>
                  </a:lnTo>
                  <a:lnTo>
                    <a:pt x="136" y="66"/>
                  </a:lnTo>
                  <a:lnTo>
                    <a:pt x="130" y="92"/>
                  </a:lnTo>
                  <a:lnTo>
                    <a:pt x="116" y="115"/>
                  </a:lnTo>
                  <a:lnTo>
                    <a:pt x="93" y="129"/>
                  </a:lnTo>
                  <a:lnTo>
                    <a:pt x="70" y="135"/>
                  </a:lnTo>
                  <a:lnTo>
                    <a:pt x="44" y="129"/>
                  </a:lnTo>
                  <a:lnTo>
                    <a:pt x="21" y="115"/>
                  </a:lnTo>
                  <a:lnTo>
                    <a:pt x="3" y="95"/>
                  </a:lnTo>
                  <a:lnTo>
                    <a:pt x="0" y="69"/>
                  </a:lnTo>
                  <a:lnTo>
                    <a:pt x="3" y="43"/>
                  </a:lnTo>
                  <a:lnTo>
                    <a:pt x="21" y="20"/>
                  </a:lnTo>
                  <a:lnTo>
                    <a:pt x="41" y="5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707" name="Rectangle 1706">
            <a:extLst>
              <a:ext uri="{FF2B5EF4-FFF2-40B4-BE49-F238E27FC236}">
                <a16:creationId xmlns:a16="http://schemas.microsoft.com/office/drawing/2014/main" id="{9EC3E668-8654-4D48-A8D5-F1A86A82FD2B}"/>
              </a:ext>
            </a:extLst>
          </p:cNvPr>
          <p:cNvSpPr/>
          <p:nvPr/>
        </p:nvSpPr>
        <p:spPr>
          <a:xfrm>
            <a:off x="-1" y="-242056"/>
            <a:ext cx="12241459" cy="6717848"/>
          </a:xfrm>
          <a:prstGeom prst="rect">
            <a:avLst/>
          </a:prstGeom>
          <a:solidFill>
            <a:srgbClr val="122842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08" name="Rectangle 1707">
            <a:extLst>
              <a:ext uri="{FF2B5EF4-FFF2-40B4-BE49-F238E27FC236}">
                <a16:creationId xmlns:a16="http://schemas.microsoft.com/office/drawing/2014/main" id="{3272B4EA-7FAC-4A71-B0C3-C2854C300A71}"/>
              </a:ext>
            </a:extLst>
          </p:cNvPr>
          <p:cNvSpPr/>
          <p:nvPr/>
        </p:nvSpPr>
        <p:spPr>
          <a:xfrm>
            <a:off x="0" y="198304"/>
            <a:ext cx="12192000" cy="671674"/>
          </a:xfrm>
          <a:prstGeom prst="rect">
            <a:avLst/>
          </a:prstGeom>
          <a:solidFill>
            <a:schemeClr val="bg1">
              <a:lumMod val="95000"/>
              <a:alpha val="67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DUSTRY 4.0</a:t>
            </a:r>
          </a:p>
        </p:txBody>
      </p:sp>
      <p:cxnSp>
        <p:nvCxnSpPr>
          <p:cNvPr id="1712" name="Straight Connector 1711">
            <a:extLst>
              <a:ext uri="{FF2B5EF4-FFF2-40B4-BE49-F238E27FC236}">
                <a16:creationId xmlns:a16="http://schemas.microsoft.com/office/drawing/2014/main" id="{96419F90-5183-4064-A5BF-CF3DBA6BF1B5}"/>
              </a:ext>
            </a:extLst>
          </p:cNvPr>
          <p:cNvCxnSpPr/>
          <p:nvPr/>
        </p:nvCxnSpPr>
        <p:spPr>
          <a:xfrm>
            <a:off x="8123406" y="2370472"/>
            <a:ext cx="0" cy="1828800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5" name="Rectangle: Top Corners Rounded 62">
            <a:extLst>
              <a:ext uri="{FF2B5EF4-FFF2-40B4-BE49-F238E27FC236}">
                <a16:creationId xmlns:a16="http://schemas.microsoft.com/office/drawing/2014/main" id="{2F57FD57-5644-4EE7-8531-27DE3159AAEA}"/>
              </a:ext>
            </a:extLst>
          </p:cNvPr>
          <p:cNvSpPr/>
          <p:nvPr/>
        </p:nvSpPr>
        <p:spPr>
          <a:xfrm>
            <a:off x="1021080" y="1050648"/>
            <a:ext cx="10149840" cy="613053"/>
          </a:xfrm>
          <a:prstGeom prst="round2SameRect">
            <a:avLst/>
          </a:prstGeom>
          <a:solidFill>
            <a:srgbClr val="C8CED9"/>
          </a:solidFill>
          <a:effectLst>
            <a:innerShdw blurRad="114300">
              <a:prstClr val="black"/>
            </a:inn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he</a:t>
            </a:r>
            <a:r>
              <a:rPr kumimoji="0" lang="en-IN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term Industry 4.0 refers to the</a:t>
            </a:r>
            <a:r>
              <a:rPr lang="en-IN" sz="16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ombination of several major Innovations in digital technology to transform the energy and manufacturing sectors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065522" y="4991215"/>
            <a:ext cx="10060956" cy="1371600"/>
            <a:chOff x="834726" y="1805062"/>
            <a:chExt cx="10060956" cy="1371600"/>
          </a:xfrm>
        </p:grpSpPr>
        <p:sp>
          <p:nvSpPr>
            <p:cNvPr id="1720" name="Rectangle: Rounded Corners 90">
              <a:extLst>
                <a:ext uri="{FF2B5EF4-FFF2-40B4-BE49-F238E27FC236}">
                  <a16:creationId xmlns:a16="http://schemas.microsoft.com/office/drawing/2014/main" id="{6E920F81-4722-4F78-99A7-F840AFD202BB}"/>
                </a:ext>
              </a:extLst>
            </p:cNvPr>
            <p:cNvSpPr/>
            <p:nvPr/>
          </p:nvSpPr>
          <p:spPr>
            <a:xfrm>
              <a:off x="834726" y="1805062"/>
              <a:ext cx="10060956" cy="1371600"/>
            </a:xfrm>
            <a:prstGeom prst="roundRect">
              <a:avLst/>
            </a:prstGeom>
            <a:solidFill>
              <a:schemeClr val="tx2">
                <a:lumMod val="75000"/>
                <a:alpha val="68000"/>
              </a:schemeClr>
            </a:solidFill>
            <a:ln w="38100">
              <a:noFill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21" name="TextBox 1720">
              <a:extLst>
                <a:ext uri="{FF2B5EF4-FFF2-40B4-BE49-F238E27FC236}">
                  <a16:creationId xmlns:a16="http://schemas.microsoft.com/office/drawing/2014/main" id="{27A3E9BC-A545-4CA2-935E-539910A48398}"/>
                </a:ext>
              </a:extLst>
            </p:cNvPr>
            <p:cNvSpPr txBox="1"/>
            <p:nvPr/>
          </p:nvSpPr>
          <p:spPr>
            <a:xfrm>
              <a:off x="952970" y="2304093"/>
              <a:ext cx="144180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Technologies</a:t>
              </a:r>
            </a:p>
          </p:txBody>
        </p:sp>
        <p:sp>
          <p:nvSpPr>
            <p:cNvPr id="1722" name="TextBox 1721">
              <a:extLst>
                <a:ext uri="{FF2B5EF4-FFF2-40B4-BE49-F238E27FC236}">
                  <a16:creationId xmlns:a16="http://schemas.microsoft.com/office/drawing/2014/main" id="{A9A2407E-7953-41DA-8314-77E5207B7473}"/>
                </a:ext>
              </a:extLst>
            </p:cNvPr>
            <p:cNvSpPr txBox="1"/>
            <p:nvPr/>
          </p:nvSpPr>
          <p:spPr>
            <a:xfrm>
              <a:off x="2938531" y="1908899"/>
              <a:ext cx="136140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solidFill>
                    <a:prstClr val="white"/>
                  </a:solidFill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Cyber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solidFill>
                    <a:prstClr val="white"/>
                  </a:solidFill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Security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23" name="TextBox 1722">
              <a:extLst>
                <a:ext uri="{FF2B5EF4-FFF2-40B4-BE49-F238E27FC236}">
                  <a16:creationId xmlns:a16="http://schemas.microsoft.com/office/drawing/2014/main" id="{8BBC5DCF-9267-4CDA-AD08-DAE6A199BCDC}"/>
                </a:ext>
              </a:extLst>
            </p:cNvPr>
            <p:cNvSpPr txBox="1"/>
            <p:nvPr/>
          </p:nvSpPr>
          <p:spPr>
            <a:xfrm>
              <a:off x="4703658" y="1908899"/>
              <a:ext cx="162620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Mobile Technologies</a:t>
              </a:r>
            </a:p>
          </p:txBody>
        </p:sp>
        <p:sp>
          <p:nvSpPr>
            <p:cNvPr id="1724" name="TextBox 1723">
              <a:extLst>
                <a:ext uri="{FF2B5EF4-FFF2-40B4-BE49-F238E27FC236}">
                  <a16:creationId xmlns:a16="http://schemas.microsoft.com/office/drawing/2014/main" id="{981FFEA3-9904-4895-8FD4-AA2C933D1733}"/>
                </a:ext>
              </a:extLst>
            </p:cNvPr>
            <p:cNvSpPr txBox="1"/>
            <p:nvPr/>
          </p:nvSpPr>
          <p:spPr>
            <a:xfrm>
              <a:off x="6239239" y="1908899"/>
              <a:ext cx="158704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Advanced Robotics</a:t>
              </a:r>
            </a:p>
          </p:txBody>
        </p:sp>
        <p:sp>
          <p:nvSpPr>
            <p:cNvPr id="1725" name="TextBox 1724">
              <a:extLst>
                <a:ext uri="{FF2B5EF4-FFF2-40B4-BE49-F238E27FC236}">
                  <a16:creationId xmlns:a16="http://schemas.microsoft.com/office/drawing/2014/main" id="{3F8D58A4-84F0-4417-9B95-477E48CE0B83}"/>
                </a:ext>
              </a:extLst>
            </p:cNvPr>
            <p:cNvSpPr txBox="1"/>
            <p:nvPr/>
          </p:nvSpPr>
          <p:spPr>
            <a:xfrm>
              <a:off x="8074462" y="1908899"/>
              <a:ext cx="9523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3D Printing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26" name="TextBox 1725">
              <a:extLst>
                <a:ext uri="{FF2B5EF4-FFF2-40B4-BE49-F238E27FC236}">
                  <a16:creationId xmlns:a16="http://schemas.microsoft.com/office/drawing/2014/main" id="{F2843BB1-D317-4EE8-93FA-3B5FFF299F74}"/>
                </a:ext>
              </a:extLst>
            </p:cNvPr>
            <p:cNvSpPr txBox="1"/>
            <p:nvPr/>
          </p:nvSpPr>
          <p:spPr>
            <a:xfrm>
              <a:off x="9589107" y="1908899"/>
              <a:ext cx="110923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Cognitive Computing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1727" name="Straight Connector 1726">
              <a:extLst>
                <a:ext uri="{FF2B5EF4-FFF2-40B4-BE49-F238E27FC236}">
                  <a16:creationId xmlns:a16="http://schemas.microsoft.com/office/drawing/2014/main" id="{C0304ED3-67D1-413D-B1B6-6E68CE8EDDCB}"/>
                </a:ext>
              </a:extLst>
            </p:cNvPr>
            <p:cNvCxnSpPr/>
            <p:nvPr/>
          </p:nvCxnSpPr>
          <p:spPr>
            <a:xfrm>
              <a:off x="2653032" y="1976657"/>
              <a:ext cx="0" cy="433870"/>
            </a:xfrm>
            <a:prstGeom prst="line">
              <a:avLst/>
            </a:prstGeom>
            <a:ln w="38100">
              <a:solidFill>
                <a:schemeClr val="bg1">
                  <a:lumMod val="9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8" name="Straight Connector 1727">
              <a:extLst>
                <a:ext uri="{FF2B5EF4-FFF2-40B4-BE49-F238E27FC236}">
                  <a16:creationId xmlns:a16="http://schemas.microsoft.com/office/drawing/2014/main" id="{616E82C3-C146-40DE-9BE9-18D335E672D3}"/>
                </a:ext>
              </a:extLst>
            </p:cNvPr>
            <p:cNvCxnSpPr/>
            <p:nvPr/>
          </p:nvCxnSpPr>
          <p:spPr>
            <a:xfrm>
              <a:off x="4756208" y="1976657"/>
              <a:ext cx="0" cy="433870"/>
            </a:xfrm>
            <a:prstGeom prst="line">
              <a:avLst/>
            </a:prstGeom>
            <a:ln w="38100">
              <a:solidFill>
                <a:schemeClr val="bg1">
                  <a:lumMod val="9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9" name="Straight Connector 1728">
              <a:extLst>
                <a:ext uri="{FF2B5EF4-FFF2-40B4-BE49-F238E27FC236}">
                  <a16:creationId xmlns:a16="http://schemas.microsoft.com/office/drawing/2014/main" id="{BC5BFEA7-EBBA-4E43-8F80-DE68DCDE6F45}"/>
                </a:ext>
              </a:extLst>
            </p:cNvPr>
            <p:cNvCxnSpPr/>
            <p:nvPr/>
          </p:nvCxnSpPr>
          <p:spPr>
            <a:xfrm>
              <a:off x="6262484" y="1976657"/>
              <a:ext cx="0" cy="433870"/>
            </a:xfrm>
            <a:prstGeom prst="line">
              <a:avLst/>
            </a:prstGeom>
            <a:ln w="38100">
              <a:solidFill>
                <a:schemeClr val="bg1">
                  <a:lumMod val="9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0" name="Straight Connector 1729">
              <a:extLst>
                <a:ext uri="{FF2B5EF4-FFF2-40B4-BE49-F238E27FC236}">
                  <a16:creationId xmlns:a16="http://schemas.microsoft.com/office/drawing/2014/main" id="{1197CA19-B7E0-4E7A-A439-44EC0CC86E52}"/>
                </a:ext>
              </a:extLst>
            </p:cNvPr>
            <p:cNvCxnSpPr/>
            <p:nvPr/>
          </p:nvCxnSpPr>
          <p:spPr>
            <a:xfrm>
              <a:off x="7768760" y="1976657"/>
              <a:ext cx="0" cy="433870"/>
            </a:xfrm>
            <a:prstGeom prst="line">
              <a:avLst/>
            </a:prstGeom>
            <a:ln w="38100">
              <a:solidFill>
                <a:schemeClr val="bg1">
                  <a:lumMod val="9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1" name="Straight Connector 1730">
              <a:extLst>
                <a:ext uri="{FF2B5EF4-FFF2-40B4-BE49-F238E27FC236}">
                  <a16:creationId xmlns:a16="http://schemas.microsoft.com/office/drawing/2014/main" id="{48F4C00F-35AE-4329-861C-96A3CF36E532}"/>
                </a:ext>
              </a:extLst>
            </p:cNvPr>
            <p:cNvCxnSpPr/>
            <p:nvPr/>
          </p:nvCxnSpPr>
          <p:spPr>
            <a:xfrm>
              <a:off x="9275036" y="1976657"/>
              <a:ext cx="0" cy="433870"/>
            </a:xfrm>
            <a:prstGeom prst="line">
              <a:avLst/>
            </a:prstGeom>
            <a:ln w="38100">
              <a:solidFill>
                <a:schemeClr val="bg1">
                  <a:lumMod val="9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33" name="TextBox 1732">
              <a:extLst>
                <a:ext uri="{FF2B5EF4-FFF2-40B4-BE49-F238E27FC236}">
                  <a16:creationId xmlns:a16="http://schemas.microsoft.com/office/drawing/2014/main" id="{10AD855B-572C-4282-888C-A6EFE730A9E4}"/>
                </a:ext>
              </a:extLst>
            </p:cNvPr>
            <p:cNvSpPr txBox="1"/>
            <p:nvPr/>
          </p:nvSpPr>
          <p:spPr>
            <a:xfrm>
              <a:off x="2922491" y="2516746"/>
              <a:ext cx="164592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Cloud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Computing</a:t>
              </a:r>
            </a:p>
          </p:txBody>
        </p:sp>
        <p:cxnSp>
          <p:nvCxnSpPr>
            <p:cNvPr id="1734" name="Straight Connector 1733">
              <a:extLst>
                <a:ext uri="{FF2B5EF4-FFF2-40B4-BE49-F238E27FC236}">
                  <a16:creationId xmlns:a16="http://schemas.microsoft.com/office/drawing/2014/main" id="{3FD326DA-5865-477F-B94A-46B2F95490E3}"/>
                </a:ext>
              </a:extLst>
            </p:cNvPr>
            <p:cNvCxnSpPr/>
            <p:nvPr/>
          </p:nvCxnSpPr>
          <p:spPr>
            <a:xfrm>
              <a:off x="2653032" y="2576810"/>
              <a:ext cx="0" cy="433870"/>
            </a:xfrm>
            <a:prstGeom prst="line">
              <a:avLst/>
            </a:prstGeom>
            <a:ln w="38100">
              <a:solidFill>
                <a:schemeClr val="bg1">
                  <a:lumMod val="9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5" name="Straight Connector 1734">
              <a:extLst>
                <a:ext uri="{FF2B5EF4-FFF2-40B4-BE49-F238E27FC236}">
                  <a16:creationId xmlns:a16="http://schemas.microsoft.com/office/drawing/2014/main" id="{2701915A-7006-4CF2-AF75-969CA197C505}"/>
                </a:ext>
              </a:extLst>
            </p:cNvPr>
            <p:cNvCxnSpPr/>
            <p:nvPr/>
          </p:nvCxnSpPr>
          <p:spPr>
            <a:xfrm>
              <a:off x="4756208" y="2576810"/>
              <a:ext cx="0" cy="433870"/>
            </a:xfrm>
            <a:prstGeom prst="line">
              <a:avLst/>
            </a:prstGeom>
            <a:ln w="38100">
              <a:solidFill>
                <a:schemeClr val="bg1">
                  <a:lumMod val="9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6" name="Straight Connector 1735">
              <a:extLst>
                <a:ext uri="{FF2B5EF4-FFF2-40B4-BE49-F238E27FC236}">
                  <a16:creationId xmlns:a16="http://schemas.microsoft.com/office/drawing/2014/main" id="{A16635EE-3043-4497-BDB0-F9103D0270E3}"/>
                </a:ext>
              </a:extLst>
            </p:cNvPr>
            <p:cNvCxnSpPr/>
            <p:nvPr/>
          </p:nvCxnSpPr>
          <p:spPr>
            <a:xfrm>
              <a:off x="6262484" y="2576810"/>
              <a:ext cx="0" cy="433870"/>
            </a:xfrm>
            <a:prstGeom prst="line">
              <a:avLst/>
            </a:prstGeom>
            <a:ln w="38100">
              <a:solidFill>
                <a:schemeClr val="bg1">
                  <a:lumMod val="9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37" name="TextBox 1736">
              <a:extLst>
                <a:ext uri="{FF2B5EF4-FFF2-40B4-BE49-F238E27FC236}">
                  <a16:creationId xmlns:a16="http://schemas.microsoft.com/office/drawing/2014/main" id="{41AD4369-4BE5-4E6A-8652-E8380544255E}"/>
                </a:ext>
              </a:extLst>
            </p:cNvPr>
            <p:cNvSpPr txBox="1"/>
            <p:nvPr/>
          </p:nvSpPr>
          <p:spPr>
            <a:xfrm>
              <a:off x="6415488" y="2548719"/>
              <a:ext cx="12598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RFID Technologies</a:t>
              </a:r>
            </a:p>
          </p:txBody>
        </p:sp>
        <p:sp>
          <p:nvSpPr>
            <p:cNvPr id="1738" name="TextBox 1737">
              <a:extLst>
                <a:ext uri="{FF2B5EF4-FFF2-40B4-BE49-F238E27FC236}">
                  <a16:creationId xmlns:a16="http://schemas.microsoft.com/office/drawing/2014/main" id="{9B7D8797-E539-40EE-8CEA-F94228CDFE07}"/>
                </a:ext>
              </a:extLst>
            </p:cNvPr>
            <p:cNvSpPr txBox="1"/>
            <p:nvPr/>
          </p:nvSpPr>
          <p:spPr>
            <a:xfrm>
              <a:off x="4862140" y="2590759"/>
              <a:ext cx="128016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Machine to Machine</a:t>
              </a:r>
            </a:p>
          </p:txBody>
        </p:sp>
        <p:sp>
          <p:nvSpPr>
            <p:cNvPr id="1739" name="TextBox 1738">
              <a:extLst>
                <a:ext uri="{FF2B5EF4-FFF2-40B4-BE49-F238E27FC236}">
                  <a16:creationId xmlns:a16="http://schemas.microsoft.com/office/drawing/2014/main" id="{4F122F50-40E9-4799-9E6C-87E60EA1F30C}"/>
                </a:ext>
              </a:extLst>
            </p:cNvPr>
            <p:cNvSpPr txBox="1"/>
            <p:nvPr/>
          </p:nvSpPr>
          <p:spPr>
            <a:xfrm>
              <a:off x="7956299" y="2616287"/>
              <a:ext cx="118872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Big Data/ Analytics</a:t>
              </a:r>
            </a:p>
          </p:txBody>
        </p:sp>
        <p:cxnSp>
          <p:nvCxnSpPr>
            <p:cNvPr id="1740" name="Straight Connector 1739">
              <a:extLst>
                <a:ext uri="{FF2B5EF4-FFF2-40B4-BE49-F238E27FC236}">
                  <a16:creationId xmlns:a16="http://schemas.microsoft.com/office/drawing/2014/main" id="{4FE9F2CD-5A5E-474E-9ED6-CB876FE328C8}"/>
                </a:ext>
              </a:extLst>
            </p:cNvPr>
            <p:cNvCxnSpPr/>
            <p:nvPr/>
          </p:nvCxnSpPr>
          <p:spPr>
            <a:xfrm>
              <a:off x="7768760" y="2668270"/>
              <a:ext cx="0" cy="433870"/>
            </a:xfrm>
            <a:prstGeom prst="line">
              <a:avLst/>
            </a:prstGeom>
            <a:ln w="38100">
              <a:solidFill>
                <a:schemeClr val="bg1">
                  <a:lumMod val="9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1" name="Straight Connector 1740">
              <a:extLst>
                <a:ext uri="{FF2B5EF4-FFF2-40B4-BE49-F238E27FC236}">
                  <a16:creationId xmlns:a16="http://schemas.microsoft.com/office/drawing/2014/main" id="{1D5C0373-66BA-4071-887E-B6B25D6597A5}"/>
                </a:ext>
              </a:extLst>
            </p:cNvPr>
            <p:cNvCxnSpPr/>
            <p:nvPr/>
          </p:nvCxnSpPr>
          <p:spPr>
            <a:xfrm>
              <a:off x="9275036" y="2576810"/>
              <a:ext cx="0" cy="433870"/>
            </a:xfrm>
            <a:prstGeom prst="line">
              <a:avLst/>
            </a:prstGeom>
            <a:ln w="38100">
              <a:solidFill>
                <a:schemeClr val="bg1">
                  <a:lumMod val="9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42" name="TextBox 1741">
              <a:extLst>
                <a:ext uri="{FF2B5EF4-FFF2-40B4-BE49-F238E27FC236}">
                  <a16:creationId xmlns:a16="http://schemas.microsoft.com/office/drawing/2014/main" id="{181F54AD-F681-402E-98F2-B329C7FB6225}"/>
                </a:ext>
              </a:extLst>
            </p:cNvPr>
            <p:cNvSpPr txBox="1"/>
            <p:nvPr/>
          </p:nvSpPr>
          <p:spPr>
            <a:xfrm>
              <a:off x="9599767" y="2500007"/>
              <a:ext cx="118872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Internet of Things</a:t>
              </a:r>
            </a:p>
          </p:txBody>
        </p:sp>
      </p:grpSp>
      <p:pic>
        <p:nvPicPr>
          <p:cNvPr id="414" name="Picture 4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8244" y="1805062"/>
            <a:ext cx="8484968" cy="306731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9835622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ication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743" y="516684"/>
            <a:ext cx="11222514" cy="6022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6805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/>
          <p:cNvSpPr/>
          <p:nvPr/>
        </p:nvSpPr>
        <p:spPr>
          <a:xfrm>
            <a:off x="3337560" y="296915"/>
            <a:ext cx="6070726" cy="607071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4798765" y="1761076"/>
            <a:ext cx="3142400" cy="31423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ue Drivers</a:t>
            </a:r>
          </a:p>
        </p:txBody>
      </p:sp>
      <p:cxnSp>
        <p:nvCxnSpPr>
          <p:cNvPr id="15" name="Straight Connector 14"/>
          <p:cNvCxnSpPr>
            <a:endCxn id="13" idx="4"/>
          </p:cNvCxnSpPr>
          <p:nvPr/>
        </p:nvCxnSpPr>
        <p:spPr>
          <a:xfrm>
            <a:off x="6369965" y="450648"/>
            <a:ext cx="2958" cy="59169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rot="5400000">
            <a:off x="6381041" y="450648"/>
            <a:ext cx="2958" cy="57441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13" idx="5"/>
            <a:endCxn id="13" idx="1"/>
          </p:cNvCxnSpPr>
          <p:nvPr/>
        </p:nvCxnSpPr>
        <p:spPr>
          <a:xfrm flipH="1" flipV="1">
            <a:off x="4226597" y="1185951"/>
            <a:ext cx="4292652" cy="429264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13" idx="3"/>
            <a:endCxn id="13" idx="7"/>
          </p:cNvCxnSpPr>
          <p:nvPr/>
        </p:nvCxnSpPr>
        <p:spPr>
          <a:xfrm flipV="1">
            <a:off x="4226597" y="1185951"/>
            <a:ext cx="4292652" cy="429264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/>
          <p:cNvSpPr/>
          <p:nvPr/>
        </p:nvSpPr>
        <p:spPr>
          <a:xfrm>
            <a:off x="5730311" y="2692618"/>
            <a:ext cx="1279309" cy="1279309"/>
          </a:xfrm>
          <a:prstGeom prst="ellipse">
            <a:avLst/>
          </a:prstGeom>
          <a:solidFill>
            <a:srgbClr val="0070C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val 5"/>
          <p:cNvSpPr/>
          <p:nvPr/>
        </p:nvSpPr>
        <p:spPr>
          <a:xfrm>
            <a:off x="5847345" y="2809652"/>
            <a:ext cx="1045241" cy="1045241"/>
          </a:xfrm>
          <a:prstGeom prst="ellipse">
            <a:avLst/>
          </a:prstGeom>
          <a:solidFill>
            <a:srgbClr val="0070C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9 Rectángulo"/>
          <p:cNvSpPr/>
          <p:nvPr/>
        </p:nvSpPr>
        <p:spPr>
          <a:xfrm>
            <a:off x="5867846" y="3097443"/>
            <a:ext cx="1004239" cy="469658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Verdana" pitchFamily="34" charset="0"/>
                <a:cs typeface="Verdana" pitchFamily="34" charset="0"/>
              </a:rPr>
              <a:t>VALUE DRIVERS</a:t>
            </a:r>
          </a:p>
        </p:txBody>
      </p:sp>
      <p:sp>
        <p:nvSpPr>
          <p:cNvPr id="23" name="9 Rectángulo"/>
          <p:cNvSpPr/>
          <p:nvPr/>
        </p:nvSpPr>
        <p:spPr>
          <a:xfrm>
            <a:off x="6426450" y="1957869"/>
            <a:ext cx="784840" cy="408103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chemeClr val="bg1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Resource/Processes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24" name="9 Rectángulo"/>
          <p:cNvSpPr/>
          <p:nvPr/>
        </p:nvSpPr>
        <p:spPr>
          <a:xfrm>
            <a:off x="7183493" y="2757700"/>
            <a:ext cx="784840" cy="408103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chemeClr val="bg1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Asset utilizatio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25" name="9 Rectángulo"/>
          <p:cNvSpPr/>
          <p:nvPr/>
        </p:nvSpPr>
        <p:spPr>
          <a:xfrm>
            <a:off x="7183493" y="3612344"/>
            <a:ext cx="784840" cy="223437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chemeClr val="bg1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Labor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26" name="9 Rectángulo"/>
          <p:cNvSpPr/>
          <p:nvPr/>
        </p:nvSpPr>
        <p:spPr>
          <a:xfrm>
            <a:off x="6443015" y="4245491"/>
            <a:ext cx="911595" cy="223437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chemeClr val="bg1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Inventories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29" name="9 Rectángulo"/>
          <p:cNvSpPr/>
          <p:nvPr/>
        </p:nvSpPr>
        <p:spPr>
          <a:xfrm>
            <a:off x="5436678" y="4245491"/>
            <a:ext cx="911595" cy="223437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chemeClr val="bg1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Quality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30" name="9 Rectángulo"/>
          <p:cNvSpPr/>
          <p:nvPr/>
        </p:nvSpPr>
        <p:spPr>
          <a:xfrm>
            <a:off x="4866291" y="3479630"/>
            <a:ext cx="784840" cy="592769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chemeClr val="bg1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Supply/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chemeClr val="bg1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Demand  matching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31" name="9 Rectángulo"/>
          <p:cNvSpPr/>
          <p:nvPr/>
        </p:nvSpPr>
        <p:spPr>
          <a:xfrm>
            <a:off x="4944611" y="2689213"/>
            <a:ext cx="784840" cy="408103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chemeClr val="bg1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Time to Marke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32" name="9 Rectángulo"/>
          <p:cNvSpPr/>
          <p:nvPr/>
        </p:nvSpPr>
        <p:spPr>
          <a:xfrm>
            <a:off x="5536872" y="1982344"/>
            <a:ext cx="784840" cy="408103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chemeClr val="bg1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Services/ Aftersales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33" name="9 Rectángulo"/>
          <p:cNvSpPr/>
          <p:nvPr/>
        </p:nvSpPr>
        <p:spPr>
          <a:xfrm>
            <a:off x="6468912" y="652395"/>
            <a:ext cx="1771395" cy="962101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Smart Energy Consumption</a:t>
            </a:r>
          </a:p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Verdana" pitchFamily="34" charset="0"/>
                <a:cs typeface="Verdana" pitchFamily="34" charset="0"/>
              </a:rPr>
              <a:t>Intelligent lots</a:t>
            </a:r>
          </a:p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Verdana" pitchFamily="34" charset="0"/>
                <a:cs typeface="Verdana" pitchFamily="34" charset="0"/>
              </a:rPr>
              <a:t>Real-time yield optimization</a:t>
            </a:r>
          </a:p>
        </p:txBody>
      </p:sp>
      <p:sp>
        <p:nvSpPr>
          <p:cNvPr id="34" name="9 Rectángulo"/>
          <p:cNvSpPr/>
          <p:nvPr/>
        </p:nvSpPr>
        <p:spPr>
          <a:xfrm>
            <a:off x="7970053" y="1781953"/>
            <a:ext cx="1340855" cy="1516098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Routing Flexibility</a:t>
            </a:r>
          </a:p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Verdana" pitchFamily="34" charset="0"/>
                <a:cs typeface="Verdana" pitchFamily="34" charset="0"/>
              </a:rPr>
              <a:t>Machine Flexibility</a:t>
            </a:r>
          </a:p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Predictive maintenance</a:t>
            </a:r>
          </a:p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Verdana" pitchFamily="34" charset="0"/>
                <a:cs typeface="Verdana" pitchFamily="34" charset="0"/>
              </a:rPr>
              <a:t>Augmented reality</a:t>
            </a:r>
          </a:p>
        </p:txBody>
      </p:sp>
      <p:sp>
        <p:nvSpPr>
          <p:cNvPr id="35" name="9 Rectángulo"/>
          <p:cNvSpPr/>
          <p:nvPr/>
        </p:nvSpPr>
        <p:spPr>
          <a:xfrm>
            <a:off x="7949224" y="3418960"/>
            <a:ext cx="1402022" cy="1516098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Human-robot collaboration</a:t>
            </a:r>
          </a:p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Verdana" pitchFamily="34" charset="0"/>
                <a:cs typeface="Verdana" pitchFamily="34" charset="0"/>
              </a:rPr>
              <a:t>Remote</a:t>
            </a:r>
            <a:r>
              <a:rPr kumimoji="0" lang="en-US" sz="120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Verdana" pitchFamily="34" charset="0"/>
                <a:cs typeface="Verdana" pitchFamily="34" charset="0"/>
              </a:rPr>
              <a:t> monitoring &amp; control</a:t>
            </a:r>
          </a:p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baseline="0" dirty="0">
                <a:latin typeface="Calibri" panose="020F0502020204030204"/>
                <a:ea typeface="Verdana" pitchFamily="34" charset="0"/>
                <a:cs typeface="Verdana" pitchFamily="34" charset="0"/>
              </a:rPr>
              <a:t>Digital</a:t>
            </a: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 Performance maintenance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42" name="9 Rectángulo"/>
          <p:cNvSpPr/>
          <p:nvPr/>
        </p:nvSpPr>
        <p:spPr>
          <a:xfrm>
            <a:off x="4989017" y="656757"/>
            <a:ext cx="1479035" cy="1331433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Predictive maintenance</a:t>
            </a:r>
          </a:p>
          <a:p>
            <a:pPr marL="171450" lvl="0" indent="-171450" defTabSz="45720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Remote </a:t>
            </a:r>
            <a:r>
              <a:rPr lang="en-US" sz="1200" kern="0" dirty="0">
                <a:ea typeface="Verdana" pitchFamily="34" charset="0"/>
                <a:cs typeface="Verdana" pitchFamily="34" charset="0"/>
              </a:rPr>
              <a:t>maintenance</a:t>
            </a:r>
          </a:p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Virtually guided self-service</a:t>
            </a:r>
          </a:p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43" name="9 Rectángulo"/>
          <p:cNvSpPr/>
          <p:nvPr/>
        </p:nvSpPr>
        <p:spPr>
          <a:xfrm>
            <a:off x="3596475" y="1912087"/>
            <a:ext cx="1406257" cy="1331433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Customer cocreation/Open innovation</a:t>
            </a:r>
          </a:p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Concurrent Engineering</a:t>
            </a:r>
          </a:p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Rapid Experimentation  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44" name="9 Rectángulo"/>
          <p:cNvSpPr/>
          <p:nvPr/>
        </p:nvSpPr>
        <p:spPr>
          <a:xfrm>
            <a:off x="3596475" y="3585276"/>
            <a:ext cx="1406257" cy="962101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Data-driven demand prediction</a:t>
            </a:r>
          </a:p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Verdana" pitchFamily="34" charset="0"/>
                <a:cs typeface="Verdana" pitchFamily="34" charset="0"/>
              </a:rPr>
              <a:t>Data-driven</a:t>
            </a:r>
            <a:r>
              <a:rPr kumimoji="0" lang="en-US" sz="120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Verdana" pitchFamily="34" charset="0"/>
                <a:cs typeface="Verdana" pitchFamily="34" charset="0"/>
              </a:rPr>
              <a:t> design to value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45" name="9 Rectángulo"/>
          <p:cNvSpPr/>
          <p:nvPr/>
        </p:nvSpPr>
        <p:spPr>
          <a:xfrm>
            <a:off x="4875177" y="4980273"/>
            <a:ext cx="1406257" cy="1146767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Statistical Process control</a:t>
            </a:r>
          </a:p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Verdana" pitchFamily="34" charset="0"/>
                <a:cs typeface="Verdana" pitchFamily="34" charset="0"/>
              </a:rPr>
              <a:t>Advanced Process Control</a:t>
            </a:r>
          </a:p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Digital Quality management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46" name="9 Rectángulo"/>
          <p:cNvSpPr/>
          <p:nvPr/>
        </p:nvSpPr>
        <p:spPr>
          <a:xfrm>
            <a:off x="6529829" y="4980273"/>
            <a:ext cx="1406257" cy="592769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Real-time supply chain optimization</a:t>
            </a:r>
          </a:p>
          <a:p>
            <a:pPr marL="171450" marR="0" lvl="0" indent="-1714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Verdana" pitchFamily="34" charset="0"/>
                <a:cs typeface="Verdana" pitchFamily="34" charset="0"/>
              </a:rPr>
              <a:t>Batch</a:t>
            </a:r>
            <a:r>
              <a:rPr kumimoji="0" lang="en-US" sz="120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Verdana" pitchFamily="34" charset="0"/>
                <a:cs typeface="Verdana" pitchFamily="34" charset="0"/>
              </a:rPr>
              <a:t> size-1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50" name="Group 49"/>
          <p:cNvGrpSpPr/>
          <p:nvPr/>
        </p:nvGrpSpPr>
        <p:grpSpPr>
          <a:xfrm>
            <a:off x="9175683" y="2597773"/>
            <a:ext cx="711339" cy="91440"/>
            <a:chOff x="9712821" y="2428967"/>
            <a:chExt cx="711339" cy="91440"/>
          </a:xfrm>
        </p:grpSpPr>
        <p:sp>
          <p:nvSpPr>
            <p:cNvPr id="47" name="Oval 46"/>
            <p:cNvSpPr/>
            <p:nvPr/>
          </p:nvSpPr>
          <p:spPr>
            <a:xfrm>
              <a:off x="9712821" y="2428967"/>
              <a:ext cx="91440" cy="91440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9" name="Straight Connector 48"/>
            <p:cNvCxnSpPr>
              <a:stCxn id="47" idx="6"/>
            </p:cNvCxnSpPr>
            <p:nvPr/>
          </p:nvCxnSpPr>
          <p:spPr>
            <a:xfrm>
              <a:off x="9804261" y="2474687"/>
              <a:ext cx="619899" cy="0"/>
            </a:xfrm>
            <a:prstGeom prst="line">
              <a:avLst/>
            </a:prstGeom>
            <a:ln>
              <a:solidFill>
                <a:srgbClr val="B0AC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/>
          <p:cNvGrpSpPr/>
          <p:nvPr/>
        </p:nvGrpSpPr>
        <p:grpSpPr>
          <a:xfrm>
            <a:off x="9175683" y="3994762"/>
            <a:ext cx="711339" cy="91440"/>
            <a:chOff x="9712821" y="2428967"/>
            <a:chExt cx="711339" cy="91440"/>
          </a:xfrm>
        </p:grpSpPr>
        <p:sp>
          <p:nvSpPr>
            <p:cNvPr id="52" name="Oval 51"/>
            <p:cNvSpPr/>
            <p:nvPr/>
          </p:nvSpPr>
          <p:spPr>
            <a:xfrm>
              <a:off x="9712821" y="2428967"/>
              <a:ext cx="91440" cy="91440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3" name="Straight Connector 52"/>
            <p:cNvCxnSpPr>
              <a:stCxn id="52" idx="6"/>
            </p:cNvCxnSpPr>
            <p:nvPr/>
          </p:nvCxnSpPr>
          <p:spPr>
            <a:xfrm>
              <a:off x="9804261" y="2474687"/>
              <a:ext cx="619899" cy="0"/>
            </a:xfrm>
            <a:prstGeom prst="line">
              <a:avLst/>
            </a:prstGeom>
            <a:ln>
              <a:solidFill>
                <a:srgbClr val="B0AC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/>
          <p:cNvGrpSpPr/>
          <p:nvPr/>
        </p:nvGrpSpPr>
        <p:grpSpPr>
          <a:xfrm>
            <a:off x="7750175" y="5869957"/>
            <a:ext cx="711339" cy="91440"/>
            <a:chOff x="9712821" y="2428967"/>
            <a:chExt cx="711339" cy="91440"/>
          </a:xfrm>
        </p:grpSpPr>
        <p:sp>
          <p:nvSpPr>
            <p:cNvPr id="55" name="Oval 54"/>
            <p:cNvSpPr/>
            <p:nvPr/>
          </p:nvSpPr>
          <p:spPr>
            <a:xfrm>
              <a:off x="9712821" y="2428967"/>
              <a:ext cx="91440" cy="91440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6" name="Straight Connector 55"/>
            <p:cNvCxnSpPr>
              <a:stCxn id="55" idx="6"/>
            </p:cNvCxnSpPr>
            <p:nvPr/>
          </p:nvCxnSpPr>
          <p:spPr>
            <a:xfrm>
              <a:off x="9804261" y="2474687"/>
              <a:ext cx="619899" cy="0"/>
            </a:xfrm>
            <a:prstGeom prst="line">
              <a:avLst/>
            </a:prstGeom>
            <a:ln>
              <a:solidFill>
                <a:srgbClr val="B0AC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Group 56"/>
          <p:cNvGrpSpPr/>
          <p:nvPr/>
        </p:nvGrpSpPr>
        <p:grpSpPr>
          <a:xfrm rot="10800000">
            <a:off x="4103354" y="5618497"/>
            <a:ext cx="711339" cy="91440"/>
            <a:chOff x="9712821" y="2428967"/>
            <a:chExt cx="711339" cy="91440"/>
          </a:xfrm>
        </p:grpSpPr>
        <p:sp>
          <p:nvSpPr>
            <p:cNvPr id="58" name="Oval 57"/>
            <p:cNvSpPr/>
            <p:nvPr/>
          </p:nvSpPr>
          <p:spPr>
            <a:xfrm>
              <a:off x="9712821" y="2428967"/>
              <a:ext cx="91440" cy="91440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9" name="Straight Connector 58"/>
            <p:cNvCxnSpPr>
              <a:stCxn id="58" idx="6"/>
            </p:cNvCxnSpPr>
            <p:nvPr/>
          </p:nvCxnSpPr>
          <p:spPr>
            <a:xfrm>
              <a:off x="9804261" y="2474687"/>
              <a:ext cx="619899" cy="0"/>
            </a:xfrm>
            <a:prstGeom prst="line">
              <a:avLst/>
            </a:prstGeom>
            <a:ln>
              <a:solidFill>
                <a:srgbClr val="B0AC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oup 59"/>
          <p:cNvGrpSpPr/>
          <p:nvPr/>
        </p:nvGrpSpPr>
        <p:grpSpPr>
          <a:xfrm rot="10800000">
            <a:off x="3029703" y="4468928"/>
            <a:ext cx="711339" cy="91440"/>
            <a:chOff x="9712821" y="2428967"/>
            <a:chExt cx="711339" cy="91440"/>
          </a:xfrm>
        </p:grpSpPr>
        <p:sp>
          <p:nvSpPr>
            <p:cNvPr id="61" name="Oval 60"/>
            <p:cNvSpPr/>
            <p:nvPr/>
          </p:nvSpPr>
          <p:spPr>
            <a:xfrm>
              <a:off x="9712821" y="2428967"/>
              <a:ext cx="91440" cy="91440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2" name="Straight Connector 61"/>
            <p:cNvCxnSpPr>
              <a:stCxn id="61" idx="6"/>
            </p:cNvCxnSpPr>
            <p:nvPr/>
          </p:nvCxnSpPr>
          <p:spPr>
            <a:xfrm>
              <a:off x="9804261" y="2474687"/>
              <a:ext cx="619899" cy="0"/>
            </a:xfrm>
            <a:prstGeom prst="line">
              <a:avLst/>
            </a:prstGeom>
            <a:ln>
              <a:solidFill>
                <a:srgbClr val="B0AC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oup 62"/>
          <p:cNvGrpSpPr/>
          <p:nvPr/>
        </p:nvGrpSpPr>
        <p:grpSpPr>
          <a:xfrm rot="10800000">
            <a:off x="2824784" y="2627786"/>
            <a:ext cx="711339" cy="91440"/>
            <a:chOff x="9712821" y="2428967"/>
            <a:chExt cx="711339" cy="91440"/>
          </a:xfrm>
        </p:grpSpPr>
        <p:sp>
          <p:nvSpPr>
            <p:cNvPr id="64" name="Oval 63"/>
            <p:cNvSpPr/>
            <p:nvPr/>
          </p:nvSpPr>
          <p:spPr>
            <a:xfrm>
              <a:off x="9712821" y="2428967"/>
              <a:ext cx="91440" cy="91440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5" name="Straight Connector 64"/>
            <p:cNvCxnSpPr>
              <a:stCxn id="64" idx="6"/>
            </p:cNvCxnSpPr>
            <p:nvPr/>
          </p:nvCxnSpPr>
          <p:spPr>
            <a:xfrm>
              <a:off x="9804261" y="2474687"/>
              <a:ext cx="619899" cy="0"/>
            </a:xfrm>
            <a:prstGeom prst="line">
              <a:avLst/>
            </a:prstGeom>
            <a:ln>
              <a:solidFill>
                <a:srgbClr val="B0AC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Group 65"/>
          <p:cNvGrpSpPr/>
          <p:nvPr/>
        </p:nvGrpSpPr>
        <p:grpSpPr>
          <a:xfrm rot="10800000">
            <a:off x="3890109" y="865575"/>
            <a:ext cx="711339" cy="91440"/>
            <a:chOff x="9712821" y="2428967"/>
            <a:chExt cx="711339" cy="91440"/>
          </a:xfrm>
        </p:grpSpPr>
        <p:sp>
          <p:nvSpPr>
            <p:cNvPr id="67" name="Oval 66"/>
            <p:cNvSpPr/>
            <p:nvPr/>
          </p:nvSpPr>
          <p:spPr>
            <a:xfrm>
              <a:off x="9712821" y="2428967"/>
              <a:ext cx="91440" cy="91440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8" name="Straight Connector 67"/>
            <p:cNvCxnSpPr>
              <a:stCxn id="67" idx="6"/>
            </p:cNvCxnSpPr>
            <p:nvPr/>
          </p:nvCxnSpPr>
          <p:spPr>
            <a:xfrm>
              <a:off x="9804261" y="2474687"/>
              <a:ext cx="619899" cy="0"/>
            </a:xfrm>
            <a:prstGeom prst="line">
              <a:avLst/>
            </a:prstGeom>
            <a:ln>
              <a:solidFill>
                <a:srgbClr val="B0AC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oup 68"/>
          <p:cNvGrpSpPr/>
          <p:nvPr/>
        </p:nvGrpSpPr>
        <p:grpSpPr>
          <a:xfrm>
            <a:off x="8119509" y="885090"/>
            <a:ext cx="711339" cy="91440"/>
            <a:chOff x="9712821" y="2428967"/>
            <a:chExt cx="711339" cy="91440"/>
          </a:xfrm>
        </p:grpSpPr>
        <p:sp>
          <p:nvSpPr>
            <p:cNvPr id="70" name="Oval 69"/>
            <p:cNvSpPr/>
            <p:nvPr/>
          </p:nvSpPr>
          <p:spPr>
            <a:xfrm>
              <a:off x="9712821" y="2428967"/>
              <a:ext cx="91440" cy="91440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1" name="Straight Connector 70"/>
            <p:cNvCxnSpPr>
              <a:stCxn id="70" idx="6"/>
            </p:cNvCxnSpPr>
            <p:nvPr/>
          </p:nvCxnSpPr>
          <p:spPr>
            <a:xfrm>
              <a:off x="9804261" y="2474687"/>
              <a:ext cx="619899" cy="0"/>
            </a:xfrm>
            <a:prstGeom prst="line">
              <a:avLst/>
            </a:prstGeom>
            <a:ln>
              <a:solidFill>
                <a:srgbClr val="B0AC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2" name="9 Rectángulo"/>
          <p:cNvSpPr/>
          <p:nvPr/>
        </p:nvSpPr>
        <p:spPr>
          <a:xfrm>
            <a:off x="9978462" y="2330509"/>
            <a:ext cx="1479035" cy="592769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R="0" lvl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="1" kern="0" dirty="0">
                <a:solidFill>
                  <a:srgbClr val="EAB200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30% to 50%</a:t>
            </a:r>
          </a:p>
          <a:p>
            <a:pPr marR="0" lvl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Reduction of total machine downtime</a:t>
            </a:r>
          </a:p>
        </p:txBody>
      </p:sp>
      <p:sp>
        <p:nvSpPr>
          <p:cNvPr id="73" name="9 Rectángulo"/>
          <p:cNvSpPr/>
          <p:nvPr/>
        </p:nvSpPr>
        <p:spPr>
          <a:xfrm>
            <a:off x="9978462" y="3892893"/>
            <a:ext cx="1479035" cy="1146767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R="0" lvl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="1" kern="0" dirty="0">
                <a:solidFill>
                  <a:srgbClr val="EAB200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45 to 55% </a:t>
            </a:r>
          </a:p>
          <a:p>
            <a:pPr marR="0" lvl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Increased productivity in technical professions through automation of knowledge work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74" name="9 Rectángulo"/>
          <p:cNvSpPr/>
          <p:nvPr/>
        </p:nvSpPr>
        <p:spPr>
          <a:xfrm>
            <a:off x="8552954" y="5615462"/>
            <a:ext cx="1621125" cy="592769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R="0" lvl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="1" kern="0" dirty="0">
                <a:solidFill>
                  <a:srgbClr val="EAB200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20 to 50%</a:t>
            </a:r>
          </a:p>
          <a:p>
            <a:pPr marR="0" lvl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Cost of Inventory holding decreased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75" name="9 Rectángulo"/>
          <p:cNvSpPr/>
          <p:nvPr/>
        </p:nvSpPr>
        <p:spPr>
          <a:xfrm>
            <a:off x="2631153" y="5525860"/>
            <a:ext cx="1406291" cy="592769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R="0" lvl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="1" kern="0" dirty="0">
                <a:solidFill>
                  <a:srgbClr val="EAB200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10 to 20%</a:t>
            </a:r>
          </a:p>
          <a:p>
            <a:pPr marR="0" lvl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Cost of quality reduced by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76" name="9 Rectángulo"/>
          <p:cNvSpPr/>
          <p:nvPr/>
        </p:nvSpPr>
        <p:spPr>
          <a:xfrm>
            <a:off x="1580506" y="4301400"/>
            <a:ext cx="1406291" cy="592769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R="0" lvl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="1" kern="0" dirty="0">
                <a:solidFill>
                  <a:srgbClr val="EAB200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85%+</a:t>
            </a:r>
          </a:p>
          <a:p>
            <a:pPr marR="0" lvl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Forecast accuracy increased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77" name="9 Rectángulo"/>
          <p:cNvSpPr/>
          <p:nvPr/>
        </p:nvSpPr>
        <p:spPr>
          <a:xfrm>
            <a:off x="1669687" y="2325643"/>
            <a:ext cx="1089789" cy="592769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R="0" lvl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="1" kern="0" dirty="0">
                <a:solidFill>
                  <a:srgbClr val="EAB200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20 to 50%</a:t>
            </a:r>
          </a:p>
          <a:p>
            <a:pPr marR="0" lvl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Reduction in time to market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78" name="9 Rectángulo"/>
          <p:cNvSpPr/>
          <p:nvPr/>
        </p:nvSpPr>
        <p:spPr>
          <a:xfrm>
            <a:off x="2571768" y="655653"/>
            <a:ext cx="1273620" cy="592769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R="0" lvl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="1" kern="0" dirty="0">
                <a:solidFill>
                  <a:srgbClr val="EAB200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10 to 40%</a:t>
            </a:r>
          </a:p>
          <a:p>
            <a:pPr marR="0" lvl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Reduction in maintenance cost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79" name="9 Rectángulo"/>
          <p:cNvSpPr/>
          <p:nvPr/>
        </p:nvSpPr>
        <p:spPr>
          <a:xfrm>
            <a:off x="8928600" y="711608"/>
            <a:ext cx="1479035" cy="408103"/>
          </a:xfrm>
          <a:prstGeom prst="rect">
            <a:avLst/>
          </a:prstGeom>
        </p:spPr>
        <p:txBody>
          <a:bodyPr wrap="square" lIns="38396" tIns="19198" rIns="38396" bIns="19198">
            <a:spAutoFit/>
          </a:bodyPr>
          <a:lstStyle/>
          <a:p>
            <a:pPr marR="0" lvl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="1" kern="0" dirty="0">
                <a:solidFill>
                  <a:srgbClr val="EAB200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3 to 5%</a:t>
            </a:r>
          </a:p>
          <a:p>
            <a:pPr marR="0" lvl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kern="0" dirty="0">
                <a:latin typeface="Calibri" panose="020F0502020204030204"/>
                <a:ea typeface="Verdana" pitchFamily="34" charset="0"/>
                <a:cs typeface="Verdana" pitchFamily="34" charset="0"/>
              </a:rPr>
              <a:t>Productivity increases</a:t>
            </a:r>
          </a:p>
        </p:txBody>
      </p:sp>
    </p:spTree>
    <p:extLst>
      <p:ext uri="{BB962C8B-B14F-4D97-AF65-F5344CB8AC3E}">
        <p14:creationId xmlns:p14="http://schemas.microsoft.com/office/powerpoint/2010/main" val="12326971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1683DB6-4DD6-4505-AA0F-CEE3E5F8359C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91999" cy="6486181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9EC3E668-8654-4D48-A8D5-F1A86A82FD2B}"/>
              </a:ext>
            </a:extLst>
          </p:cNvPr>
          <p:cNvSpPr/>
          <p:nvPr/>
        </p:nvSpPr>
        <p:spPr>
          <a:xfrm>
            <a:off x="0" y="0"/>
            <a:ext cx="12191998" cy="6486181"/>
          </a:xfrm>
          <a:prstGeom prst="rect">
            <a:avLst/>
          </a:prstGeom>
          <a:solidFill>
            <a:srgbClr val="2B5F9D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D3A2725-BFC6-4001-9558-DF43795E17A1}"/>
              </a:ext>
            </a:extLst>
          </p:cNvPr>
          <p:cNvSpPr/>
          <p:nvPr/>
        </p:nvSpPr>
        <p:spPr>
          <a:xfrm>
            <a:off x="0" y="664830"/>
            <a:ext cx="12192000" cy="1005840"/>
          </a:xfrm>
          <a:prstGeom prst="rect">
            <a:avLst/>
          </a:prstGeom>
          <a:solidFill>
            <a:srgbClr val="0C2D50"/>
          </a:solidFill>
          <a:ln w="571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altLang="en-US" sz="2800" dirty="0">
                <a:solidFill>
                  <a:srgbClr val="5B9BD5">
                    <a:lumMod val="20000"/>
                    <a:lumOff val="80000"/>
                  </a:srgbClr>
                </a:solidFill>
                <a:latin typeface="Arial Black" panose="020B0A04020102020204" pitchFamily="34" charset="0"/>
                <a:cs typeface="Segoe UI" panose="020B0502040204020203" pitchFamily="34" charset="0"/>
              </a:rPr>
              <a:t>INDUSTRY 4.0- IMPACT ON AUTOMOTIVE INDUSTRY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006361A-4A8B-4401-86EB-5B94D33B5A9B}"/>
              </a:ext>
            </a:extLst>
          </p:cNvPr>
          <p:cNvSpPr/>
          <p:nvPr/>
        </p:nvSpPr>
        <p:spPr>
          <a:xfrm>
            <a:off x="1440931" y="2228034"/>
            <a:ext cx="931013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lvl="0" indent="-514350">
              <a:buFont typeface="+mj-lt"/>
              <a:buAutoNum type="arabicPeriod"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hifts to connected mobility</a:t>
            </a:r>
          </a:p>
          <a:p>
            <a:pPr marL="514350" lvl="0" indent="-514350">
              <a:buFont typeface="+mj-lt"/>
              <a:buAutoNum type="arabicPeriod"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 ownership shifts to co-sharing mobility</a:t>
            </a:r>
          </a:p>
          <a:p>
            <a:pPr marL="514350" lvl="0" indent="-514350">
              <a:buFont typeface="+mj-lt"/>
              <a:buAutoNum type="arabicPeriod"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EMs become service based business.</a:t>
            </a:r>
          </a:p>
          <a:p>
            <a:pPr marL="514350" lvl="0" indent="-514350">
              <a:buFont typeface="+mj-lt"/>
              <a:buAutoNum type="arabicPeriod"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ch companies are becoming smart vehicles manufactur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A6893FB-4FBC-46F9-A914-E4EBBF4BE1D4}"/>
              </a:ext>
            </a:extLst>
          </p:cNvPr>
          <p:cNvSpPr txBox="1"/>
          <p:nvPr/>
        </p:nvSpPr>
        <p:spPr>
          <a:xfrm>
            <a:off x="1898847" y="4049638"/>
            <a:ext cx="84567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2000" b="1" dirty="0">
                <a:solidFill>
                  <a:srgbClr val="EAB200"/>
                </a:solidFill>
              </a:rPr>
              <a:t>I4.0 will chart certain Mega Trends that are expected to be key enablers for the automotive industry‘s transition: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EAB200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AB1AA2A-8E45-4FFE-AB48-CB65B379C0DC}"/>
              </a:ext>
            </a:extLst>
          </p:cNvPr>
          <p:cNvSpPr/>
          <p:nvPr/>
        </p:nvSpPr>
        <p:spPr>
          <a:xfrm>
            <a:off x="1109425" y="4872163"/>
            <a:ext cx="1858654" cy="1294724"/>
          </a:xfrm>
          <a:prstGeom prst="rect">
            <a:avLst/>
          </a:prstGeom>
          <a:solidFill>
            <a:srgbClr val="0C2D50"/>
          </a:solidFill>
          <a:ln w="571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20000"/>
                  <a:lumOff val="80000"/>
                </a:srgbClr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1FF4FB5-2F1A-456B-BAB6-247CA383B3BE}"/>
              </a:ext>
            </a:extLst>
          </p:cNvPr>
          <p:cNvSpPr txBox="1"/>
          <p:nvPr/>
        </p:nvSpPr>
        <p:spPr>
          <a:xfrm>
            <a:off x="1109425" y="5196360"/>
            <a:ext cx="18586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UD COMPUTING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B7CDA2E-9B37-4F54-B3AC-CAD7CABACB11}"/>
              </a:ext>
            </a:extLst>
          </p:cNvPr>
          <p:cNvSpPr/>
          <p:nvPr/>
        </p:nvSpPr>
        <p:spPr>
          <a:xfrm>
            <a:off x="3063035" y="4872163"/>
            <a:ext cx="1858654" cy="1294724"/>
          </a:xfrm>
          <a:prstGeom prst="rect">
            <a:avLst/>
          </a:prstGeom>
          <a:solidFill>
            <a:srgbClr val="0C2D50"/>
          </a:solidFill>
          <a:ln w="571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20000"/>
                  <a:lumOff val="80000"/>
                </a:srgbClr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AD12B023-5401-407F-B6D3-5C03CC9373C4}"/>
              </a:ext>
            </a:extLst>
          </p:cNvPr>
          <p:cNvSpPr/>
          <p:nvPr/>
        </p:nvSpPr>
        <p:spPr>
          <a:xfrm>
            <a:off x="5113707" y="4862213"/>
            <a:ext cx="1858654" cy="1294724"/>
          </a:xfrm>
          <a:prstGeom prst="rect">
            <a:avLst/>
          </a:prstGeom>
          <a:solidFill>
            <a:srgbClr val="0C2D50"/>
          </a:solidFill>
          <a:ln w="571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20000"/>
                  <a:lumOff val="80000"/>
                </a:srgbClr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0D21719-4719-4AA2-A5C3-C1B77ABD9F3B}"/>
              </a:ext>
            </a:extLst>
          </p:cNvPr>
          <p:cNvSpPr/>
          <p:nvPr/>
        </p:nvSpPr>
        <p:spPr>
          <a:xfrm>
            <a:off x="7158419" y="4872163"/>
            <a:ext cx="1858654" cy="1294724"/>
          </a:xfrm>
          <a:prstGeom prst="rect">
            <a:avLst/>
          </a:prstGeom>
          <a:solidFill>
            <a:srgbClr val="0C2D50"/>
          </a:solidFill>
          <a:ln w="571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20000"/>
                  <a:lumOff val="80000"/>
                </a:srgbClr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FB11D5E-390D-4FC5-B4E7-B9D2B23E65C9}"/>
              </a:ext>
            </a:extLst>
          </p:cNvPr>
          <p:cNvSpPr/>
          <p:nvPr/>
        </p:nvSpPr>
        <p:spPr>
          <a:xfrm>
            <a:off x="9169783" y="4862213"/>
            <a:ext cx="1858654" cy="1294724"/>
          </a:xfrm>
          <a:prstGeom prst="rect">
            <a:avLst/>
          </a:prstGeom>
          <a:solidFill>
            <a:srgbClr val="0C2D50"/>
          </a:solidFill>
          <a:ln w="571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20000"/>
                  <a:lumOff val="80000"/>
                </a:srgbClr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C1FF4FB5-2F1A-456B-BAB6-247CA383B3BE}"/>
              </a:ext>
            </a:extLst>
          </p:cNvPr>
          <p:cNvSpPr txBox="1"/>
          <p:nvPr/>
        </p:nvSpPr>
        <p:spPr>
          <a:xfrm>
            <a:off x="3085669" y="5196360"/>
            <a:ext cx="18586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b="1" dirty="0">
                <a:solidFill>
                  <a:prstClr val="white"/>
                </a:solidFill>
              </a:rPr>
              <a:t>BIG DATA ANALYTICS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1FF4FB5-2F1A-456B-BAB6-247CA383B3BE}"/>
              </a:ext>
            </a:extLst>
          </p:cNvPr>
          <p:cNvSpPr txBox="1"/>
          <p:nvPr/>
        </p:nvSpPr>
        <p:spPr>
          <a:xfrm>
            <a:off x="5068439" y="5196360"/>
            <a:ext cx="18586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b="1" dirty="0">
                <a:solidFill>
                  <a:prstClr val="white"/>
                </a:solidFill>
              </a:rPr>
              <a:t>BROADBAND CONNECTIVITY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C1FF4FB5-2F1A-456B-BAB6-247CA383B3BE}"/>
              </a:ext>
            </a:extLst>
          </p:cNvPr>
          <p:cNvSpPr txBox="1"/>
          <p:nvPr/>
        </p:nvSpPr>
        <p:spPr>
          <a:xfrm>
            <a:off x="7158419" y="5334859"/>
            <a:ext cx="18586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b="1" dirty="0">
                <a:solidFill>
                  <a:prstClr val="white"/>
                </a:solidFill>
              </a:rPr>
              <a:t>ECOMMERCE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C1FF4FB5-2F1A-456B-BAB6-247CA383B3BE}"/>
              </a:ext>
            </a:extLst>
          </p:cNvPr>
          <p:cNvSpPr txBox="1"/>
          <p:nvPr/>
        </p:nvSpPr>
        <p:spPr>
          <a:xfrm>
            <a:off x="9169783" y="5334859"/>
            <a:ext cx="18586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b="1" dirty="0">
                <a:solidFill>
                  <a:prstClr val="white"/>
                </a:solidFill>
              </a:rPr>
              <a:t>IOT</a:t>
            </a:r>
          </a:p>
        </p:txBody>
      </p:sp>
    </p:spTree>
    <p:extLst>
      <p:ext uri="{BB962C8B-B14F-4D97-AF65-F5344CB8AC3E}">
        <p14:creationId xmlns:p14="http://schemas.microsoft.com/office/powerpoint/2010/main" val="3490373232"/>
      </p:ext>
    </p:extLst>
  </p:cSld>
  <p:clrMapOvr>
    <a:masterClrMapping/>
  </p:clrMapOvr>
  <p:transition spd="slow" advClick="0" advTm="10000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ysClr val="window" lastClr="FFFFFF">
                <a:lumMod val="50000"/>
              </a:sysClr>
            </a:gs>
            <a:gs pos="37000">
              <a:sysClr val="window" lastClr="FFFFFF">
                <a:lumMod val="50000"/>
                <a:tint val="44500"/>
                <a:satMod val="160000"/>
              </a:sysClr>
            </a:gs>
            <a:gs pos="100000">
              <a:sysClr val="window" lastClr="FFFFFF">
                <a:lumMod val="50000"/>
                <a:tint val="23500"/>
                <a:satMod val="160000"/>
                <a:alpha val="0"/>
              </a:sysClr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>
          <a:xfrm>
            <a:off x="797" y="453834"/>
            <a:ext cx="3557950" cy="60334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1" name="任意多边形 10"/>
          <p:cNvSpPr/>
          <p:nvPr/>
        </p:nvSpPr>
        <p:spPr>
          <a:xfrm flipH="1">
            <a:off x="234780" y="2310715"/>
            <a:ext cx="2949716" cy="1964725"/>
          </a:xfrm>
          <a:prstGeom prst="roundRect">
            <a:avLst>
              <a:gd name="adj" fmla="val 8862"/>
            </a:avLst>
          </a:prstGeom>
          <a:solidFill>
            <a:srgbClr val="26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2582239" y="1353250"/>
            <a:ext cx="602256" cy="4091801"/>
            <a:chOff x="7636995" y="1679426"/>
            <a:chExt cx="421216" cy="4092334"/>
          </a:xfrm>
        </p:grpSpPr>
        <p:pic>
          <p:nvPicPr>
            <p:cNvPr id="4" name="图片 3"/>
            <p:cNvPicPr preferRelativeResize="0">
              <a:picLocks/>
            </p:cNvPicPr>
            <p:nvPr/>
          </p:nvPicPr>
          <p:blipFill rotWithShape="1">
            <a:blip r:embed="rId3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66000"/>
                      </a14:imgEffect>
                    </a14:imgLayer>
                  </a14:imgProps>
                </a:ext>
              </a:extLst>
            </a:blip>
            <a:srcRect t="76775"/>
            <a:stretch/>
          </p:blipFill>
          <p:spPr>
            <a:xfrm rot="16200000" flipV="1">
              <a:off x="5801436" y="3514985"/>
              <a:ext cx="4092334" cy="421216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图片 11"/>
            <p:cNvPicPr preferRelativeResize="0">
              <a:picLocks/>
            </p:cNvPicPr>
            <p:nvPr/>
          </p:nvPicPr>
          <p:blipFill rotWithShape="1">
            <a:blip r:embed="rId3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66000"/>
                      </a14:imgEffect>
                    </a14:imgLayer>
                  </a14:imgProps>
                </a:ext>
              </a:extLst>
            </a:blip>
            <a:srcRect t="76775"/>
            <a:stretch/>
          </p:blipFill>
          <p:spPr>
            <a:xfrm rot="16200000" flipV="1">
              <a:off x="5801436" y="3514985"/>
              <a:ext cx="4092334" cy="42121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5" name="文本框 14"/>
          <p:cNvSpPr txBox="1"/>
          <p:nvPr/>
        </p:nvSpPr>
        <p:spPr>
          <a:xfrm>
            <a:off x="311575" y="2692913"/>
            <a:ext cx="27961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华文细黑" panose="02010600040101010101" pitchFamily="2" charset="-122"/>
                <a:cs typeface="Segoe UI" panose="020B0502040204020203" pitchFamily="34" charset="0"/>
              </a:rPr>
              <a:t>Connected car, Autonomous driving are the Future of Automotive Industr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-4914" y="3186"/>
            <a:ext cx="8675720" cy="45064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ransformation in Automotive Industr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15508" y="987328"/>
            <a:ext cx="6492803" cy="5157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8462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601A8E9-5A29-4B41-BF23-0970DBE2DBE9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837C559-6559-4E5A-B04E-C080F5A500A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F75BC">
                  <a:alpha val="85000"/>
                </a:srgbClr>
              </a:gs>
              <a:gs pos="100000">
                <a:srgbClr val="3B3B3D">
                  <a:alpha val="8500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文本框 9">
            <a:extLst>
              <a:ext uri="{FF2B5EF4-FFF2-40B4-BE49-F238E27FC236}">
                <a16:creationId xmlns:a16="http://schemas.microsoft.com/office/drawing/2014/main" id="{AADC7527-8603-4F7F-BF3C-E53E71550F30}"/>
              </a:ext>
            </a:extLst>
          </p:cNvPr>
          <p:cNvSpPr txBox="1"/>
          <p:nvPr/>
        </p:nvSpPr>
        <p:spPr>
          <a:xfrm>
            <a:off x="2931869" y="2685084"/>
            <a:ext cx="6949440" cy="1645920"/>
          </a:xfrm>
          <a:prstGeom prst="rect">
            <a:avLst/>
          </a:prstGeom>
          <a:noFill/>
          <a:ln w="12700">
            <a:solidFill>
              <a:schemeClr val="bg1"/>
            </a:solidFill>
            <a:prstDash val="solid"/>
          </a:ln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方正粗谭黑简体" panose="02000000000000000000" pitchFamily="2" charset="-122"/>
              <a:ea typeface="方正粗谭黑简体" panose="02000000000000000000" pitchFamily="2" charset="-122"/>
              <a:cs typeface="+mn-cs"/>
            </a:endParaRPr>
          </a:p>
        </p:txBody>
      </p:sp>
      <p:sp>
        <p:nvSpPr>
          <p:cNvPr id="16" name="矩形 4">
            <a:extLst>
              <a:ext uri="{FF2B5EF4-FFF2-40B4-BE49-F238E27FC236}">
                <a16:creationId xmlns:a16="http://schemas.microsoft.com/office/drawing/2014/main" id="{BAD93A0B-AF39-49E9-94CB-B8447B779FFA}"/>
              </a:ext>
            </a:extLst>
          </p:cNvPr>
          <p:cNvSpPr/>
          <p:nvPr/>
        </p:nvSpPr>
        <p:spPr>
          <a:xfrm>
            <a:off x="8700822" y="1771550"/>
            <a:ext cx="2799244" cy="3314900"/>
          </a:xfrm>
          <a:custGeom>
            <a:avLst/>
            <a:gdLst>
              <a:gd name="connsiteX0" fmla="*/ 0 w 3816424"/>
              <a:gd name="connsiteY0" fmla="*/ 0 h 4392488"/>
              <a:gd name="connsiteX1" fmla="*/ 3816424 w 3816424"/>
              <a:gd name="connsiteY1" fmla="*/ 0 h 4392488"/>
              <a:gd name="connsiteX2" fmla="*/ 3816424 w 3816424"/>
              <a:gd name="connsiteY2" fmla="*/ 4392488 h 4392488"/>
              <a:gd name="connsiteX3" fmla="*/ 0 w 3816424"/>
              <a:gd name="connsiteY3" fmla="*/ 4392488 h 4392488"/>
              <a:gd name="connsiteX4" fmla="*/ 0 w 3816424"/>
              <a:gd name="connsiteY4" fmla="*/ 0 h 4392488"/>
              <a:gd name="connsiteX0" fmla="*/ 16743 w 3833167"/>
              <a:gd name="connsiteY0" fmla="*/ 0 h 4392488"/>
              <a:gd name="connsiteX1" fmla="*/ 3833167 w 3833167"/>
              <a:gd name="connsiteY1" fmla="*/ 0 h 4392488"/>
              <a:gd name="connsiteX2" fmla="*/ 3833167 w 3833167"/>
              <a:gd name="connsiteY2" fmla="*/ 4392488 h 4392488"/>
              <a:gd name="connsiteX3" fmla="*/ 16743 w 3833167"/>
              <a:gd name="connsiteY3" fmla="*/ 4392488 h 4392488"/>
              <a:gd name="connsiteX4" fmla="*/ 0 w 3833167"/>
              <a:gd name="connsiteY4" fmla="*/ 1086693 h 4392488"/>
              <a:gd name="connsiteX5" fmla="*/ 16743 w 3833167"/>
              <a:gd name="connsiteY5" fmla="*/ 0 h 4392488"/>
              <a:gd name="connsiteX0" fmla="*/ 16743 w 3833167"/>
              <a:gd name="connsiteY0" fmla="*/ 0 h 4392488"/>
              <a:gd name="connsiteX1" fmla="*/ 3833167 w 3833167"/>
              <a:gd name="connsiteY1" fmla="*/ 0 h 4392488"/>
              <a:gd name="connsiteX2" fmla="*/ 3833167 w 3833167"/>
              <a:gd name="connsiteY2" fmla="*/ 4392488 h 4392488"/>
              <a:gd name="connsiteX3" fmla="*/ 16743 w 3833167"/>
              <a:gd name="connsiteY3" fmla="*/ 4392488 h 4392488"/>
              <a:gd name="connsiteX4" fmla="*/ 1 w 3833167"/>
              <a:gd name="connsiteY4" fmla="*/ 3506043 h 4392488"/>
              <a:gd name="connsiteX5" fmla="*/ 0 w 3833167"/>
              <a:gd name="connsiteY5" fmla="*/ 1086693 h 4392488"/>
              <a:gd name="connsiteX6" fmla="*/ 16743 w 3833167"/>
              <a:gd name="connsiteY6" fmla="*/ 0 h 4392488"/>
              <a:gd name="connsiteX0" fmla="*/ 35792 w 3852216"/>
              <a:gd name="connsiteY0" fmla="*/ 0 h 4392488"/>
              <a:gd name="connsiteX1" fmla="*/ 3852216 w 3852216"/>
              <a:gd name="connsiteY1" fmla="*/ 0 h 4392488"/>
              <a:gd name="connsiteX2" fmla="*/ 3852216 w 3852216"/>
              <a:gd name="connsiteY2" fmla="*/ 4392488 h 4392488"/>
              <a:gd name="connsiteX3" fmla="*/ 35792 w 3852216"/>
              <a:gd name="connsiteY3" fmla="*/ 4392488 h 4392488"/>
              <a:gd name="connsiteX4" fmla="*/ 19050 w 3852216"/>
              <a:gd name="connsiteY4" fmla="*/ 3506043 h 4392488"/>
              <a:gd name="connsiteX5" fmla="*/ 0 w 3852216"/>
              <a:gd name="connsiteY5" fmla="*/ 2210643 h 4392488"/>
              <a:gd name="connsiteX6" fmla="*/ 19049 w 3852216"/>
              <a:gd name="connsiteY6" fmla="*/ 1086693 h 4392488"/>
              <a:gd name="connsiteX7" fmla="*/ 35792 w 3852216"/>
              <a:gd name="connsiteY7" fmla="*/ 0 h 4392488"/>
              <a:gd name="connsiteX0" fmla="*/ 0 w 3852216"/>
              <a:gd name="connsiteY0" fmla="*/ 2210643 h 4392488"/>
              <a:gd name="connsiteX1" fmla="*/ 19049 w 3852216"/>
              <a:gd name="connsiteY1" fmla="*/ 1086693 h 4392488"/>
              <a:gd name="connsiteX2" fmla="*/ 35792 w 3852216"/>
              <a:gd name="connsiteY2" fmla="*/ 0 h 4392488"/>
              <a:gd name="connsiteX3" fmla="*/ 3852216 w 3852216"/>
              <a:gd name="connsiteY3" fmla="*/ 0 h 4392488"/>
              <a:gd name="connsiteX4" fmla="*/ 3852216 w 3852216"/>
              <a:gd name="connsiteY4" fmla="*/ 4392488 h 4392488"/>
              <a:gd name="connsiteX5" fmla="*/ 35792 w 3852216"/>
              <a:gd name="connsiteY5" fmla="*/ 4392488 h 4392488"/>
              <a:gd name="connsiteX6" fmla="*/ 19050 w 3852216"/>
              <a:gd name="connsiteY6" fmla="*/ 3506043 h 4392488"/>
              <a:gd name="connsiteX7" fmla="*/ 91440 w 3852216"/>
              <a:gd name="connsiteY7" fmla="*/ 2302083 h 4392488"/>
              <a:gd name="connsiteX0" fmla="*/ 0 w 3852216"/>
              <a:gd name="connsiteY0" fmla="*/ 2210643 h 4392488"/>
              <a:gd name="connsiteX1" fmla="*/ 19049 w 3852216"/>
              <a:gd name="connsiteY1" fmla="*/ 1086693 h 4392488"/>
              <a:gd name="connsiteX2" fmla="*/ 35792 w 3852216"/>
              <a:gd name="connsiteY2" fmla="*/ 0 h 4392488"/>
              <a:gd name="connsiteX3" fmla="*/ 3852216 w 3852216"/>
              <a:gd name="connsiteY3" fmla="*/ 0 h 4392488"/>
              <a:gd name="connsiteX4" fmla="*/ 3852216 w 3852216"/>
              <a:gd name="connsiteY4" fmla="*/ 4392488 h 4392488"/>
              <a:gd name="connsiteX5" fmla="*/ 35792 w 3852216"/>
              <a:gd name="connsiteY5" fmla="*/ 4392488 h 4392488"/>
              <a:gd name="connsiteX6" fmla="*/ 19050 w 3852216"/>
              <a:gd name="connsiteY6" fmla="*/ 3506043 h 4392488"/>
              <a:gd name="connsiteX7" fmla="*/ 453390 w 3852216"/>
              <a:gd name="connsiteY7" fmla="*/ 2625933 h 4392488"/>
              <a:gd name="connsiteX0" fmla="*/ 0 w 3852216"/>
              <a:gd name="connsiteY0" fmla="*/ 2210643 h 4392488"/>
              <a:gd name="connsiteX1" fmla="*/ 19049 w 3852216"/>
              <a:gd name="connsiteY1" fmla="*/ 1086693 h 4392488"/>
              <a:gd name="connsiteX2" fmla="*/ 35792 w 3852216"/>
              <a:gd name="connsiteY2" fmla="*/ 0 h 4392488"/>
              <a:gd name="connsiteX3" fmla="*/ 3852216 w 3852216"/>
              <a:gd name="connsiteY3" fmla="*/ 0 h 4392488"/>
              <a:gd name="connsiteX4" fmla="*/ 3852216 w 3852216"/>
              <a:gd name="connsiteY4" fmla="*/ 4392488 h 4392488"/>
              <a:gd name="connsiteX5" fmla="*/ 35792 w 3852216"/>
              <a:gd name="connsiteY5" fmla="*/ 4392488 h 4392488"/>
              <a:gd name="connsiteX6" fmla="*/ 19050 w 3852216"/>
              <a:gd name="connsiteY6" fmla="*/ 3506043 h 4392488"/>
              <a:gd name="connsiteX0" fmla="*/ 0 w 3833167"/>
              <a:gd name="connsiteY0" fmla="*/ 1086693 h 4392488"/>
              <a:gd name="connsiteX1" fmla="*/ 16743 w 3833167"/>
              <a:gd name="connsiteY1" fmla="*/ 0 h 4392488"/>
              <a:gd name="connsiteX2" fmla="*/ 3833167 w 3833167"/>
              <a:gd name="connsiteY2" fmla="*/ 0 h 4392488"/>
              <a:gd name="connsiteX3" fmla="*/ 3833167 w 3833167"/>
              <a:gd name="connsiteY3" fmla="*/ 4392488 h 4392488"/>
              <a:gd name="connsiteX4" fmla="*/ 16743 w 3833167"/>
              <a:gd name="connsiteY4" fmla="*/ 4392488 h 4392488"/>
              <a:gd name="connsiteX5" fmla="*/ 1 w 3833167"/>
              <a:gd name="connsiteY5" fmla="*/ 3506043 h 4392488"/>
              <a:gd name="connsiteX0" fmla="*/ 19049 w 3833166"/>
              <a:gd name="connsiteY0" fmla="*/ 1086693 h 4392488"/>
              <a:gd name="connsiteX1" fmla="*/ 16742 w 3833166"/>
              <a:gd name="connsiteY1" fmla="*/ 0 h 4392488"/>
              <a:gd name="connsiteX2" fmla="*/ 3833166 w 3833166"/>
              <a:gd name="connsiteY2" fmla="*/ 0 h 4392488"/>
              <a:gd name="connsiteX3" fmla="*/ 3833166 w 3833166"/>
              <a:gd name="connsiteY3" fmla="*/ 4392488 h 4392488"/>
              <a:gd name="connsiteX4" fmla="*/ 16742 w 3833166"/>
              <a:gd name="connsiteY4" fmla="*/ 4392488 h 4392488"/>
              <a:gd name="connsiteX5" fmla="*/ 0 w 3833166"/>
              <a:gd name="connsiteY5" fmla="*/ 3506043 h 4392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3166" h="4392488">
                <a:moveTo>
                  <a:pt x="19049" y="1086693"/>
                </a:moveTo>
                <a:lnTo>
                  <a:pt x="16742" y="0"/>
                </a:lnTo>
                <a:lnTo>
                  <a:pt x="3833166" y="0"/>
                </a:lnTo>
                <a:lnTo>
                  <a:pt x="3833166" y="4392488"/>
                </a:lnTo>
                <a:lnTo>
                  <a:pt x="16742" y="4392488"/>
                </a:lnTo>
                <a:lnTo>
                  <a:pt x="0" y="3506043"/>
                </a:lnTo>
              </a:path>
            </a:pathLst>
          </a:custGeom>
          <a:noFill/>
          <a:ln w="276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70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1CA078F-0930-4133-81EF-F815B3F50F67}"/>
              </a:ext>
            </a:extLst>
          </p:cNvPr>
          <p:cNvSpPr txBox="1"/>
          <p:nvPr/>
        </p:nvSpPr>
        <p:spPr>
          <a:xfrm>
            <a:off x="2886149" y="2685084"/>
            <a:ext cx="7040880" cy="164592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lnSpc>
                <a:spcPts val="4400"/>
              </a:lnSpc>
              <a:defRPr sz="4000" spc="6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4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200" dirty="0">
                <a:solidFill>
                  <a:prstClr val="white"/>
                </a:solidFill>
              </a:rPr>
              <a:t>AUTOFACETS OVERVIEW</a:t>
            </a:r>
            <a:endParaRPr kumimoji="0" lang="da-DK" sz="3200" b="0" i="0" u="none" strike="noStrike" kern="1200" cap="none" spc="6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8918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Gears_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97</TotalTime>
  <Words>1650</Words>
  <Application>Microsoft Office PowerPoint</Application>
  <PresentationFormat>Widescreen</PresentationFormat>
  <Paragraphs>544</Paragraphs>
  <Slides>25</Slides>
  <Notes>4</Notes>
  <HiddenSlides>1</HiddenSlides>
  <MMClips>0</MMClips>
  <ScaleCrop>false</ScaleCrop>
  <HeadingPairs>
    <vt:vector size="6" baseType="variant">
      <vt:variant>
        <vt:lpstr>Fonts Used</vt:lpstr>
      </vt:variant>
      <vt:variant>
        <vt:i4>16</vt:i4>
      </vt:variant>
      <vt:variant>
        <vt:lpstr>Theme</vt:lpstr>
      </vt:variant>
      <vt:variant>
        <vt:i4>7</vt:i4>
      </vt:variant>
      <vt:variant>
        <vt:lpstr>Slide Titles</vt:lpstr>
      </vt:variant>
      <vt:variant>
        <vt:i4>25</vt:i4>
      </vt:variant>
    </vt:vector>
  </HeadingPairs>
  <TitlesOfParts>
    <vt:vector size="48" baseType="lpstr">
      <vt:lpstr>等线</vt:lpstr>
      <vt:lpstr>Arial</vt:lpstr>
      <vt:lpstr>Arial Black</vt:lpstr>
      <vt:lpstr>Calibri</vt:lpstr>
      <vt:lpstr>Calibri Light</vt:lpstr>
      <vt:lpstr>Gotham</vt:lpstr>
      <vt:lpstr>Roboto</vt:lpstr>
      <vt:lpstr>Segoe UI</vt:lpstr>
      <vt:lpstr>Segoe UI Black</vt:lpstr>
      <vt:lpstr>Segoe UI Light</vt:lpstr>
      <vt:lpstr>Segoe UI Semibold</vt:lpstr>
      <vt:lpstr>Tahoma</vt:lpstr>
      <vt:lpstr>Times</vt:lpstr>
      <vt:lpstr>Trebuchet MS</vt:lpstr>
      <vt:lpstr>Wingdings</vt:lpstr>
      <vt:lpstr>方正粗谭黑简体</vt:lpstr>
      <vt:lpstr>Office Theme</vt:lpstr>
      <vt:lpstr>1_Office Theme</vt:lpstr>
      <vt:lpstr>7_Office Theme</vt:lpstr>
      <vt:lpstr>2_Office Theme</vt:lpstr>
      <vt:lpstr>3_Office Theme</vt:lpstr>
      <vt:lpstr>4_Office Theme</vt:lpstr>
      <vt:lpstr>5_Office Theme</vt:lpstr>
      <vt:lpstr>PowerPoint Presentation</vt:lpstr>
      <vt:lpstr>PowerPoint Presentation</vt:lpstr>
      <vt:lpstr>Industrial Evolution</vt:lpstr>
      <vt:lpstr>PowerPoint Presentation</vt:lpstr>
      <vt:lpstr>Applications</vt:lpstr>
      <vt:lpstr>Value Drivers</vt:lpstr>
      <vt:lpstr>PowerPoint Presentation</vt:lpstr>
      <vt:lpstr>Transformation in Automotive Industr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ales Landscape – For Dealer Of Tomorrow</vt:lpstr>
      <vt:lpstr>Aftersales Landscape</vt:lpstr>
      <vt:lpstr>Functional Overview</vt:lpstr>
      <vt:lpstr>Our Understand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havya Shah</dc:creator>
  <cp:lastModifiedBy>Vinaykumar Srivastav</cp:lastModifiedBy>
  <cp:revision>41</cp:revision>
  <dcterms:created xsi:type="dcterms:W3CDTF">2019-12-30T07:11:06Z</dcterms:created>
  <dcterms:modified xsi:type="dcterms:W3CDTF">2020-01-17T12:01:25Z</dcterms:modified>
</cp:coreProperties>
</file>